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48.xml" ContentType="application/vnd.openxmlformats-officedocument.presentationml.slideLayout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s/slide19.xml" ContentType="application/vnd.openxmlformats-officedocument.presentationml.slide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51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92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diagrams/colors1.xml" ContentType="application/vnd.openxmlformats-officedocument.drawingml.diagramColors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3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s/slide24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7.xml" ContentType="application/vnd.openxmlformats-officedocument.theme+xml"/>
  <Override PartName="/ppt/slideMasters/slideMaster21.xml" ContentType="application/vnd.openxmlformats-officedocument.presentationml.slideMaster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94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0.xml" ContentType="application/vnd.openxmlformats-officedocument.theme+xml"/>
  <Override PartName="/ppt/slideLayouts/slideLayout383.xml" ContentType="application/vnd.openxmlformats-officedocument.presentationml.slideLayout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4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25.xml" ContentType="application/vnd.openxmlformats-officedocument.theme+xml"/>
  <Override PartName="/ppt/slideLayouts/slideLayout232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slideMasters/slideMaster23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349.xml" ContentType="application/vnd.openxmlformats-officedocument.presentationml.slideLayout+xml"/>
  <Default Extension="gif" ContentType="image/gif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2.xml" ContentType="application/vnd.openxmlformats-officedocument.theme+xml"/>
  <Override PartName="/ppt/slideLayouts/slideLayout38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330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6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93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diagrams/drawing1.xml" ContentType="application/vnd.ms-office.drawingml.diagramDrawing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302.xml" ContentType="application/vnd.openxmlformats-officedocument.presentationml.slideLayout+xml"/>
  <Override PartName="/ppt/diagrams/quickStyle1.xml" ContentType="application/vnd.openxmlformats-officedocument.drawingml.diagramStyl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heme/theme24.xml" ContentType="application/vnd.openxmlformats-officedocument.theme+xml"/>
  <Override PartName="/ppt/slideLayouts/slideLayout179.xml" ContentType="application/vnd.openxmlformats-officedocument.presentationml.slideLayout+xml"/>
  <Override PartName="/ppt/theme/theme13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Masters/slideMaster22.xml" ContentType="application/vnd.openxmlformats-officedocument.presentationml.slideMaster+xml"/>
  <Override PartName="/ppt/slideLayouts/slideLayout359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21.xml" ContentType="application/vnd.openxmlformats-officedocument.theme+xml"/>
  <Override PartName="/ppt/diagrams/layout1.xml" ContentType="application/vnd.openxmlformats-officedocument.drawingml.diagram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5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9" r:id="rId1"/>
    <p:sldMasterId id="2147483819" r:id="rId2"/>
    <p:sldMasterId id="2147483835" r:id="rId3"/>
    <p:sldMasterId id="2147483852" r:id="rId4"/>
    <p:sldMasterId id="2147483866" r:id="rId5"/>
    <p:sldMasterId id="2147483880" r:id="rId6"/>
    <p:sldMasterId id="2147483894" r:id="rId7"/>
    <p:sldMasterId id="2147483908" r:id="rId8"/>
    <p:sldMasterId id="2147483922" r:id="rId9"/>
    <p:sldMasterId id="2147483955" r:id="rId10"/>
    <p:sldMasterId id="2147483976" r:id="rId11"/>
    <p:sldMasterId id="2147483998" r:id="rId12"/>
    <p:sldMasterId id="2147484020" r:id="rId13"/>
    <p:sldMasterId id="2147484041" r:id="rId14"/>
    <p:sldMasterId id="2147484063" r:id="rId15"/>
    <p:sldMasterId id="2147484097" r:id="rId16"/>
    <p:sldMasterId id="2147484112" r:id="rId17"/>
    <p:sldMasterId id="2147484145" r:id="rId18"/>
    <p:sldMasterId id="2147484158" r:id="rId19"/>
    <p:sldMasterId id="2147484172" r:id="rId20"/>
    <p:sldMasterId id="2147484188" r:id="rId21"/>
    <p:sldMasterId id="2147484205" r:id="rId22"/>
    <p:sldMasterId id="2147484221" r:id="rId23"/>
  </p:sldMasterIdLst>
  <p:notesMasterIdLst>
    <p:notesMasterId r:id="rId50"/>
  </p:notesMasterIdLst>
  <p:handoutMasterIdLst>
    <p:handoutMasterId r:id="rId51"/>
  </p:handoutMasterIdLst>
  <p:sldIdLst>
    <p:sldId id="256" r:id="rId24"/>
    <p:sldId id="333" r:id="rId25"/>
    <p:sldId id="341" r:id="rId26"/>
    <p:sldId id="356" r:id="rId27"/>
    <p:sldId id="357" r:id="rId28"/>
    <p:sldId id="358" r:id="rId29"/>
    <p:sldId id="359" r:id="rId30"/>
    <p:sldId id="360" r:id="rId31"/>
    <p:sldId id="361" r:id="rId32"/>
    <p:sldId id="362" r:id="rId33"/>
    <p:sldId id="363" r:id="rId34"/>
    <p:sldId id="364" r:id="rId35"/>
    <p:sldId id="365" r:id="rId36"/>
    <p:sldId id="366" r:id="rId37"/>
    <p:sldId id="367" r:id="rId38"/>
    <p:sldId id="368" r:id="rId39"/>
    <p:sldId id="369" r:id="rId40"/>
    <p:sldId id="370" r:id="rId41"/>
    <p:sldId id="371" r:id="rId42"/>
    <p:sldId id="354" r:id="rId43"/>
    <p:sldId id="374" r:id="rId44"/>
    <p:sldId id="377" r:id="rId45"/>
    <p:sldId id="378" r:id="rId46"/>
    <p:sldId id="379" r:id="rId47"/>
    <p:sldId id="380" r:id="rId48"/>
    <p:sldId id="318" r:id="rId49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3785">
          <p15:clr>
            <a:srgbClr val="A4A3A4"/>
          </p15:clr>
        </p15:guide>
        <p15:guide id="3" orient="horz" pos="1007">
          <p15:clr>
            <a:srgbClr val="A4A3A4"/>
          </p15:clr>
        </p15:guide>
        <p15:guide id="4" orient="horz" pos="905">
          <p15:clr>
            <a:srgbClr val="A4A3A4"/>
          </p15:clr>
        </p15:guide>
        <p15:guide id="5" pos="287">
          <p15:clr>
            <a:srgbClr val="A4A3A4"/>
          </p15:clr>
        </p15:guide>
        <p15:guide id="6" pos="547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26" autoAdjust="0"/>
    <p:restoredTop sz="94707" autoAdjust="0"/>
  </p:normalViewPr>
  <p:slideViewPr>
    <p:cSldViewPr snapToGrid="0" snapToObjects="1">
      <p:cViewPr>
        <p:scale>
          <a:sx n="80" d="100"/>
          <a:sy n="80" d="100"/>
        </p:scale>
        <p:origin x="-1416" y="-78"/>
      </p:cViewPr>
      <p:guideLst>
        <p:guide orient="horz" pos="2160"/>
        <p:guide orient="horz" pos="3785"/>
        <p:guide orient="horz" pos="1007"/>
        <p:guide orient="horz" pos="905"/>
        <p:guide pos="287"/>
        <p:guide pos="54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-2886" y="-84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11545375737429039"/>
          <c:y val="0.16093876723438766"/>
          <c:w val="0.49439470161854776"/>
          <c:h val="0.83906123276561262"/>
        </c:manualLayout>
      </c:layout>
      <c:pieChart>
        <c:varyColors val="1"/>
        <c:ser>
          <c:idx val="0"/>
          <c:order val="0"/>
          <c:dLbls>
            <c:dLbl>
              <c:idx val="0"/>
              <c:layout>
                <c:manualLayout>
                  <c:x val="-9.4569940881570724E-2"/>
                  <c:y val="0.1676445492024872"/>
                </c:manualLayout>
              </c:layout>
              <c:dLblPos val="bestFit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5367564974734893"/>
                  <c:y val="-0.12070407542579172"/>
                </c:manualLayout>
              </c:layout>
              <c:dLblPos val="bestFit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3.1789419991548308E-2"/>
                  <c:y val="3.4432342356042214E-2"/>
                </c:manualLayout>
              </c:layout>
              <c:dLblPos val="bestFit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0245043316489905"/>
                  <c:y val="0.14082142133008918"/>
                </c:manualLayout>
              </c:layout>
              <c:dLblPos val="bestFit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002060"/>
                    </a:solidFill>
                  </a:defRPr>
                </a:pPr>
                <a:endParaRPr lang="en-US"/>
              </a:p>
            </c:txPr>
            <c:dLblPos val="outEnd"/>
            <c:showPercent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2-3 Years</c:v>
                </c:pt>
                <c:pt idx="1">
                  <c:v>3-4 years</c:v>
                </c:pt>
                <c:pt idx="2">
                  <c:v>&gt;7 year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64147653971955521"/>
          <c:y val="3.2227882535820492E-2"/>
          <c:w val="0.33488105262700796"/>
          <c:h val="0.93554423492835903"/>
        </c:manualLayout>
      </c:layout>
      <c:overlay val="1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layout/>
    </c:title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ours</c:v>
                </c:pt>
              </c:strCache>
            </c:strRef>
          </c:tx>
          <c:explosion val="25"/>
          <c:cat>
            <c:strRef>
              <c:f>Sheet1!$A$2:$A$7</c:f>
              <c:strCache>
                <c:ptCount val="6"/>
                <c:pt idx="0">
                  <c:v>Gilead</c:v>
                </c:pt>
                <c:pt idx="1">
                  <c:v>PFM</c:v>
                </c:pt>
                <c:pt idx="2">
                  <c:v>Lifecan</c:v>
                </c:pt>
                <c:pt idx="3">
                  <c:v>Mundi Pharma</c:v>
                </c:pt>
                <c:pt idx="4">
                  <c:v>BI &amp; GSK</c:v>
                </c:pt>
                <c:pt idx="5">
                  <c:v>SPMSD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80</c:v>
                </c:pt>
                <c:pt idx="1">
                  <c:v>27</c:v>
                </c:pt>
                <c:pt idx="2">
                  <c:v>24</c:v>
                </c:pt>
                <c:pt idx="3">
                  <c:v>16</c:v>
                </c:pt>
                <c:pt idx="4">
                  <c:v>9</c:v>
                </c:pt>
                <c:pt idx="5">
                  <c:v>7</c:v>
                </c:pt>
              </c:numCache>
            </c:numRef>
          </c:val>
        </c:ser>
        <c:firstSliceAng val="0"/>
        <c:holeSize val="50"/>
      </c:doughnutChart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2716A9-0365-4254-A9D2-1F989EACBF83}" type="doc">
      <dgm:prSet loTypeId="urn:microsoft.com/office/officeart/2005/8/layout/orgChart1" loCatId="hierarchy" qsTypeId="urn:microsoft.com/office/officeart/2005/8/quickstyle/simple1" qsCatId="simple" csTypeId="urn:microsoft.com/office/officeart/2005/8/colors/accent6_5" csCatId="accent6" phldr="1"/>
      <dgm:spPr/>
      <dgm:t>
        <a:bodyPr/>
        <a:lstStyle/>
        <a:p>
          <a:endParaRPr lang="en-US"/>
        </a:p>
      </dgm:t>
    </dgm:pt>
    <dgm:pt modelId="{E2311BA9-11BB-47DD-A684-B6A919BCD305}" type="asst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Rounok </a:t>
          </a:r>
        </a:p>
        <a:p>
          <a:r>
            <a:rPr lang="en-US" dirty="0" smtClean="0">
              <a:latin typeface="Calibri" pitchFamily="34" charset="0"/>
            </a:rPr>
            <a:t>(7.8 yrs)</a:t>
          </a:r>
          <a:endParaRPr lang="en-US" dirty="0">
            <a:latin typeface="Calibri" pitchFamily="34" charset="0"/>
          </a:endParaRPr>
        </a:p>
      </dgm:t>
    </dgm:pt>
    <dgm:pt modelId="{89582EBA-5CEE-4F01-AB04-FE8D6EFF0B28}" type="parTrans" cxnId="{8232A85B-CA3A-4283-92BF-65A821436DD1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A802F2EA-C65C-446D-B06E-5C8E493859BE}" type="sibTrans" cxnId="{8232A85B-CA3A-4283-92BF-65A821436DD1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654A555D-E683-4F34-BAEE-2D42B91D5105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Muzahid </a:t>
          </a:r>
        </a:p>
        <a:p>
          <a:r>
            <a:rPr lang="en-US" dirty="0" smtClean="0">
              <a:latin typeface="Calibri" pitchFamily="34" charset="0"/>
            </a:rPr>
            <a:t>(2.6 yrs)</a:t>
          </a:r>
          <a:endParaRPr lang="en-US" dirty="0">
            <a:latin typeface="Calibri" pitchFamily="34" charset="0"/>
          </a:endParaRPr>
        </a:p>
      </dgm:t>
    </dgm:pt>
    <dgm:pt modelId="{B2B519D1-30DF-40C3-9AB3-F058383DBDD9}" type="parTrans" cxnId="{A264371F-0636-4F39-A4F5-42347FA1BD94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89EE15BE-1094-4208-9452-09097AEEF9D4}" type="sibTrans" cxnId="{A264371F-0636-4F39-A4F5-42347FA1BD94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095CCA3A-9EC6-4BB3-ADA7-62D789197E1D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Afifa </a:t>
          </a:r>
        </a:p>
        <a:p>
          <a:r>
            <a:rPr lang="en-US" dirty="0" smtClean="0">
              <a:latin typeface="Calibri" pitchFamily="34" charset="0"/>
            </a:rPr>
            <a:t>(2.7 yrs)</a:t>
          </a:r>
          <a:endParaRPr lang="en-US" dirty="0">
            <a:latin typeface="Calibri" pitchFamily="34" charset="0"/>
          </a:endParaRPr>
        </a:p>
      </dgm:t>
    </dgm:pt>
    <dgm:pt modelId="{0516C438-EBD7-434F-99BB-DB88052BBDCF}" type="parTrans" cxnId="{919EB101-6F10-4849-924D-104070275E86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BCCBB0A4-BCDC-467D-9BAB-15583CA143B3}" type="sibTrans" cxnId="{919EB101-6F10-4849-924D-104070275E86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DC0251AD-E806-4CC7-9275-D28F5F409638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Farzana </a:t>
          </a:r>
        </a:p>
        <a:p>
          <a:r>
            <a:rPr lang="en-US" dirty="0" smtClean="0">
              <a:latin typeface="Calibri" pitchFamily="34" charset="0"/>
            </a:rPr>
            <a:t>(3.2 yrs)</a:t>
          </a:r>
          <a:endParaRPr lang="en-US" dirty="0">
            <a:latin typeface="Calibri" pitchFamily="34" charset="0"/>
          </a:endParaRPr>
        </a:p>
      </dgm:t>
    </dgm:pt>
    <dgm:pt modelId="{60A594F8-91D2-4DE7-BBDC-0B9177B95E82}" type="parTrans" cxnId="{B5044E8C-8E8B-485F-B27A-36FE0DEF22D0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91F8A925-94BE-46F5-8F42-A481785E337B}" type="sibTrans" cxnId="{B5044E8C-8E8B-485F-B27A-36FE0DEF22D0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5291469C-9805-471F-B887-B4CA3EAE38B8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Aamir </a:t>
          </a:r>
        </a:p>
        <a:p>
          <a:r>
            <a:rPr lang="en-US" dirty="0" smtClean="0">
              <a:latin typeface="Calibri" pitchFamily="34" charset="0"/>
            </a:rPr>
            <a:t>(3 yrs)</a:t>
          </a:r>
          <a:endParaRPr lang="en-US" dirty="0">
            <a:latin typeface="Calibri" pitchFamily="34" charset="0"/>
          </a:endParaRPr>
        </a:p>
      </dgm:t>
    </dgm:pt>
    <dgm:pt modelId="{11CD2F34-00DC-40D7-B5D4-04F18CF753D4}" type="parTrans" cxnId="{6C1061B5-29D6-422E-B2F0-FB35325692DD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9127ECFA-2B2C-4611-8E78-A0D098B432B9}" type="sibTrans" cxnId="{6C1061B5-29D6-422E-B2F0-FB35325692DD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AC6AFF4A-4A3E-4F82-852C-4499C0EFF318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Anika </a:t>
          </a:r>
        </a:p>
        <a:p>
          <a:r>
            <a:rPr lang="en-US" dirty="0" smtClean="0">
              <a:latin typeface="Calibri" pitchFamily="34" charset="0"/>
            </a:rPr>
            <a:t>(3.5 yrs)</a:t>
          </a:r>
          <a:endParaRPr lang="en-US" dirty="0">
            <a:latin typeface="Calibri" pitchFamily="34" charset="0"/>
          </a:endParaRPr>
        </a:p>
      </dgm:t>
    </dgm:pt>
    <dgm:pt modelId="{5D95F64E-8A60-4F15-88F1-7049E7A1DEBA}" type="parTrans" cxnId="{E6B48533-4883-479B-B5F8-84568F9AE5ED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99F80B11-8D0B-4AE2-87F6-D510C5E19948}" type="sibTrans" cxnId="{E6B48533-4883-479B-B5F8-84568F9AE5ED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124BA5BC-F691-4E61-921E-E203C59C26FB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Shimul </a:t>
          </a:r>
        </a:p>
        <a:p>
          <a:r>
            <a:rPr lang="en-US" dirty="0" smtClean="0">
              <a:latin typeface="Calibri" pitchFamily="34" charset="0"/>
            </a:rPr>
            <a:t>(2.6 yrs)</a:t>
          </a:r>
          <a:endParaRPr lang="en-US" dirty="0">
            <a:latin typeface="Calibri" pitchFamily="34" charset="0"/>
          </a:endParaRPr>
        </a:p>
      </dgm:t>
    </dgm:pt>
    <dgm:pt modelId="{F07C5DF7-769B-4786-BBA5-C73E2C72D3DB}" type="parTrans" cxnId="{5BA979F7-2C52-4555-911D-C322F93E18AE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919CA410-BFA5-49B6-B45A-2FDA8C13F9E1}" type="sibTrans" cxnId="{5BA979F7-2C52-4555-911D-C322F93E18AE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9495C1E0-CDF4-4BC9-8914-CC3013541588}">
      <dgm:prSet phldrT="[Text]"/>
      <dgm:spPr/>
      <dgm:t>
        <a:bodyPr/>
        <a:lstStyle/>
        <a:p>
          <a:r>
            <a:rPr lang="en-US" dirty="0" smtClean="0">
              <a:latin typeface="Calibri" pitchFamily="34" charset="0"/>
            </a:rPr>
            <a:t>Taufiq </a:t>
          </a:r>
        </a:p>
        <a:p>
          <a:r>
            <a:rPr lang="en-US" dirty="0" smtClean="0">
              <a:latin typeface="Calibri" pitchFamily="34" charset="0"/>
            </a:rPr>
            <a:t>(2.3 yrs)</a:t>
          </a:r>
          <a:endParaRPr lang="en-US" dirty="0">
            <a:latin typeface="Calibri" pitchFamily="34" charset="0"/>
          </a:endParaRPr>
        </a:p>
      </dgm:t>
    </dgm:pt>
    <dgm:pt modelId="{625BA92D-C4EA-4234-987A-47108961D88B}" type="parTrans" cxnId="{42284679-4C70-446C-98A7-E6DB1D3D314B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23205AAC-2D55-4B27-89F1-19C3B5E24824}" type="sibTrans" cxnId="{42284679-4C70-446C-98A7-E6DB1D3D314B}">
      <dgm:prSet/>
      <dgm:spPr/>
      <dgm:t>
        <a:bodyPr/>
        <a:lstStyle/>
        <a:p>
          <a:endParaRPr lang="en-US">
            <a:latin typeface="Calibri" pitchFamily="34" charset="0"/>
          </a:endParaRPr>
        </a:p>
      </dgm:t>
    </dgm:pt>
    <dgm:pt modelId="{39F976FE-B02E-47E5-A06B-48EDABDE3993}" type="pres">
      <dgm:prSet presAssocID="{0A2716A9-0365-4254-A9D2-1F989EACBF8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59DBE84-533F-4F79-BB4E-2B89FA9AC90C}" type="pres">
      <dgm:prSet presAssocID="{E2311BA9-11BB-47DD-A684-B6A919BCD305}" presName="hierRoot1" presStyleCnt="0">
        <dgm:presLayoutVars>
          <dgm:hierBranch val="init"/>
        </dgm:presLayoutVars>
      </dgm:prSet>
      <dgm:spPr/>
    </dgm:pt>
    <dgm:pt modelId="{026EAF08-49B5-4E3C-9A64-8D8505D89D50}" type="pres">
      <dgm:prSet presAssocID="{E2311BA9-11BB-47DD-A684-B6A919BCD305}" presName="rootComposite1" presStyleCnt="0"/>
      <dgm:spPr/>
    </dgm:pt>
    <dgm:pt modelId="{4D02EFA5-08CF-41AD-AFD2-4CFEA56FCB95}" type="pres">
      <dgm:prSet presAssocID="{E2311BA9-11BB-47DD-A684-B6A919BCD305}" presName="rootText1" presStyleLbl="node0" presStyleIdx="0" presStyleCnt="1" custScaleX="128646" custScaleY="11125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AB40511-41E9-49DD-9C55-DA2795A98453}" type="pres">
      <dgm:prSet presAssocID="{E2311BA9-11BB-47DD-A684-B6A919BCD305}" presName="rootConnector1" presStyleLbl="asst0" presStyleIdx="0" presStyleCnt="0"/>
      <dgm:spPr/>
      <dgm:t>
        <a:bodyPr/>
        <a:lstStyle/>
        <a:p>
          <a:endParaRPr lang="en-US"/>
        </a:p>
      </dgm:t>
    </dgm:pt>
    <dgm:pt modelId="{3E0D8964-9A4F-4020-B252-D614290C78B5}" type="pres">
      <dgm:prSet presAssocID="{E2311BA9-11BB-47DD-A684-B6A919BCD305}" presName="hierChild2" presStyleCnt="0"/>
      <dgm:spPr/>
    </dgm:pt>
    <dgm:pt modelId="{1EA95537-0AB5-42AD-A015-D1138DAD9778}" type="pres">
      <dgm:prSet presAssocID="{B2B519D1-30DF-40C3-9AB3-F058383DBDD9}" presName="Name37" presStyleLbl="parChTrans1D2" presStyleIdx="0" presStyleCnt="7"/>
      <dgm:spPr/>
      <dgm:t>
        <a:bodyPr/>
        <a:lstStyle/>
        <a:p>
          <a:endParaRPr lang="en-US"/>
        </a:p>
      </dgm:t>
    </dgm:pt>
    <dgm:pt modelId="{4B110E85-FD66-4D6B-BBE9-2AC9DF5B2492}" type="pres">
      <dgm:prSet presAssocID="{654A555D-E683-4F34-BAEE-2D42B91D5105}" presName="hierRoot2" presStyleCnt="0">
        <dgm:presLayoutVars>
          <dgm:hierBranch val="init"/>
        </dgm:presLayoutVars>
      </dgm:prSet>
      <dgm:spPr/>
    </dgm:pt>
    <dgm:pt modelId="{EE67D4E4-70EC-46B9-968C-453F4503E72A}" type="pres">
      <dgm:prSet presAssocID="{654A555D-E683-4F34-BAEE-2D42B91D5105}" presName="rootComposite" presStyleCnt="0"/>
      <dgm:spPr/>
    </dgm:pt>
    <dgm:pt modelId="{5ACE0FDE-3499-4E08-8A8C-9D2D871305DD}" type="pres">
      <dgm:prSet presAssocID="{654A555D-E683-4F34-BAEE-2D42B91D5105}" presName="rootText" presStyleLbl="node2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FF0B0AC-1690-427F-ADC5-B89518D95A0D}" type="pres">
      <dgm:prSet presAssocID="{654A555D-E683-4F34-BAEE-2D42B91D5105}" presName="rootConnector" presStyleLbl="node2" presStyleIdx="0" presStyleCnt="7"/>
      <dgm:spPr/>
      <dgm:t>
        <a:bodyPr/>
        <a:lstStyle/>
        <a:p>
          <a:endParaRPr lang="en-US"/>
        </a:p>
      </dgm:t>
    </dgm:pt>
    <dgm:pt modelId="{E2E1A1AE-1625-45D8-A475-76CC9A8E10CF}" type="pres">
      <dgm:prSet presAssocID="{654A555D-E683-4F34-BAEE-2D42B91D5105}" presName="hierChild4" presStyleCnt="0"/>
      <dgm:spPr/>
    </dgm:pt>
    <dgm:pt modelId="{BA3C6BBF-A671-414F-81F6-93D27B5BF516}" type="pres">
      <dgm:prSet presAssocID="{654A555D-E683-4F34-BAEE-2D42B91D5105}" presName="hierChild5" presStyleCnt="0"/>
      <dgm:spPr/>
    </dgm:pt>
    <dgm:pt modelId="{7DD03AB2-D9DC-4A21-85FA-E313F0259947}" type="pres">
      <dgm:prSet presAssocID="{0516C438-EBD7-434F-99BB-DB88052BBDCF}" presName="Name37" presStyleLbl="parChTrans1D2" presStyleIdx="1" presStyleCnt="7"/>
      <dgm:spPr/>
      <dgm:t>
        <a:bodyPr/>
        <a:lstStyle/>
        <a:p>
          <a:endParaRPr lang="en-US"/>
        </a:p>
      </dgm:t>
    </dgm:pt>
    <dgm:pt modelId="{153C383D-3C2C-455F-A748-FD22A4BBE04F}" type="pres">
      <dgm:prSet presAssocID="{095CCA3A-9EC6-4BB3-ADA7-62D789197E1D}" presName="hierRoot2" presStyleCnt="0">
        <dgm:presLayoutVars>
          <dgm:hierBranch val="init"/>
        </dgm:presLayoutVars>
      </dgm:prSet>
      <dgm:spPr/>
    </dgm:pt>
    <dgm:pt modelId="{D80F8926-9775-4B27-850E-B9BE446E809C}" type="pres">
      <dgm:prSet presAssocID="{095CCA3A-9EC6-4BB3-ADA7-62D789197E1D}" presName="rootComposite" presStyleCnt="0"/>
      <dgm:spPr/>
    </dgm:pt>
    <dgm:pt modelId="{55FA91FF-7976-4F3D-82B7-5B5C0ACFBECD}" type="pres">
      <dgm:prSet presAssocID="{095CCA3A-9EC6-4BB3-ADA7-62D789197E1D}" presName="rootText" presStyleLbl="node2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9112723-5B7D-4AFA-90E5-D8CB8E762DFA}" type="pres">
      <dgm:prSet presAssocID="{095CCA3A-9EC6-4BB3-ADA7-62D789197E1D}" presName="rootConnector" presStyleLbl="node2" presStyleIdx="1" presStyleCnt="7"/>
      <dgm:spPr/>
      <dgm:t>
        <a:bodyPr/>
        <a:lstStyle/>
        <a:p>
          <a:endParaRPr lang="en-US"/>
        </a:p>
      </dgm:t>
    </dgm:pt>
    <dgm:pt modelId="{B9F54D87-04CC-4D90-AC2D-7626275D84AD}" type="pres">
      <dgm:prSet presAssocID="{095CCA3A-9EC6-4BB3-ADA7-62D789197E1D}" presName="hierChild4" presStyleCnt="0"/>
      <dgm:spPr/>
    </dgm:pt>
    <dgm:pt modelId="{6F2AADF7-B442-4D76-91B1-7C03E01473D8}" type="pres">
      <dgm:prSet presAssocID="{095CCA3A-9EC6-4BB3-ADA7-62D789197E1D}" presName="hierChild5" presStyleCnt="0"/>
      <dgm:spPr/>
    </dgm:pt>
    <dgm:pt modelId="{E6B65B07-79E7-4DCF-A8F5-B5E62EA1927A}" type="pres">
      <dgm:prSet presAssocID="{60A594F8-91D2-4DE7-BBDC-0B9177B95E82}" presName="Name37" presStyleLbl="parChTrans1D2" presStyleIdx="2" presStyleCnt="7"/>
      <dgm:spPr/>
      <dgm:t>
        <a:bodyPr/>
        <a:lstStyle/>
        <a:p>
          <a:endParaRPr lang="en-US"/>
        </a:p>
      </dgm:t>
    </dgm:pt>
    <dgm:pt modelId="{DCD3B5E7-F01F-4C14-A11F-9E0C4C643760}" type="pres">
      <dgm:prSet presAssocID="{DC0251AD-E806-4CC7-9275-D28F5F409638}" presName="hierRoot2" presStyleCnt="0">
        <dgm:presLayoutVars>
          <dgm:hierBranch val="init"/>
        </dgm:presLayoutVars>
      </dgm:prSet>
      <dgm:spPr/>
    </dgm:pt>
    <dgm:pt modelId="{58758E7B-FADD-43FB-AFEC-B5B2D46A1D26}" type="pres">
      <dgm:prSet presAssocID="{DC0251AD-E806-4CC7-9275-D28F5F409638}" presName="rootComposite" presStyleCnt="0"/>
      <dgm:spPr/>
    </dgm:pt>
    <dgm:pt modelId="{EC8AF41F-272B-4078-AF90-8F8EA4E5CAE0}" type="pres">
      <dgm:prSet presAssocID="{DC0251AD-E806-4CC7-9275-D28F5F409638}" presName="rootText" presStyleLbl="node2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3C60A6E-5743-41F3-BB44-57E674B71929}" type="pres">
      <dgm:prSet presAssocID="{DC0251AD-E806-4CC7-9275-D28F5F409638}" presName="rootConnector" presStyleLbl="node2" presStyleIdx="2" presStyleCnt="7"/>
      <dgm:spPr/>
      <dgm:t>
        <a:bodyPr/>
        <a:lstStyle/>
        <a:p>
          <a:endParaRPr lang="en-US"/>
        </a:p>
      </dgm:t>
    </dgm:pt>
    <dgm:pt modelId="{7FC97500-145B-46EC-BCD7-2D4184327CBF}" type="pres">
      <dgm:prSet presAssocID="{DC0251AD-E806-4CC7-9275-D28F5F409638}" presName="hierChild4" presStyleCnt="0"/>
      <dgm:spPr/>
    </dgm:pt>
    <dgm:pt modelId="{726E4591-7CAE-48DD-BB8A-FAD9CD6EF931}" type="pres">
      <dgm:prSet presAssocID="{DC0251AD-E806-4CC7-9275-D28F5F409638}" presName="hierChild5" presStyleCnt="0"/>
      <dgm:spPr/>
    </dgm:pt>
    <dgm:pt modelId="{8C313EC1-CFFD-473C-AE68-DD3AA2514825}" type="pres">
      <dgm:prSet presAssocID="{11CD2F34-00DC-40D7-B5D4-04F18CF753D4}" presName="Name37" presStyleLbl="parChTrans1D2" presStyleIdx="3" presStyleCnt="7"/>
      <dgm:spPr/>
      <dgm:t>
        <a:bodyPr/>
        <a:lstStyle/>
        <a:p>
          <a:endParaRPr lang="en-US"/>
        </a:p>
      </dgm:t>
    </dgm:pt>
    <dgm:pt modelId="{FA4E60D9-8818-4595-A613-7FACC25ED766}" type="pres">
      <dgm:prSet presAssocID="{5291469C-9805-471F-B887-B4CA3EAE38B8}" presName="hierRoot2" presStyleCnt="0">
        <dgm:presLayoutVars>
          <dgm:hierBranch val="init"/>
        </dgm:presLayoutVars>
      </dgm:prSet>
      <dgm:spPr/>
    </dgm:pt>
    <dgm:pt modelId="{45B8A45E-5BF3-4F3F-92B3-5633C82CF883}" type="pres">
      <dgm:prSet presAssocID="{5291469C-9805-471F-B887-B4CA3EAE38B8}" presName="rootComposite" presStyleCnt="0"/>
      <dgm:spPr/>
    </dgm:pt>
    <dgm:pt modelId="{6CB1C976-E570-4D55-954F-F067E4FA00C8}" type="pres">
      <dgm:prSet presAssocID="{5291469C-9805-471F-B887-B4CA3EAE38B8}" presName="rootText" presStyleLbl="node2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D5ED535-AE18-4530-AC12-056D98F68C60}" type="pres">
      <dgm:prSet presAssocID="{5291469C-9805-471F-B887-B4CA3EAE38B8}" presName="rootConnector" presStyleLbl="node2" presStyleIdx="3" presStyleCnt="7"/>
      <dgm:spPr/>
      <dgm:t>
        <a:bodyPr/>
        <a:lstStyle/>
        <a:p>
          <a:endParaRPr lang="en-US"/>
        </a:p>
      </dgm:t>
    </dgm:pt>
    <dgm:pt modelId="{B1191EF4-4C8B-4AE2-9B05-91004E0E8848}" type="pres">
      <dgm:prSet presAssocID="{5291469C-9805-471F-B887-B4CA3EAE38B8}" presName="hierChild4" presStyleCnt="0"/>
      <dgm:spPr/>
    </dgm:pt>
    <dgm:pt modelId="{DE8942A5-1EF4-48DB-B417-BCA16D920BE5}" type="pres">
      <dgm:prSet presAssocID="{5291469C-9805-471F-B887-B4CA3EAE38B8}" presName="hierChild5" presStyleCnt="0"/>
      <dgm:spPr/>
    </dgm:pt>
    <dgm:pt modelId="{436E2C99-371B-4224-89F3-58ED1A0F26A8}" type="pres">
      <dgm:prSet presAssocID="{5D95F64E-8A60-4F15-88F1-7049E7A1DEBA}" presName="Name37" presStyleLbl="parChTrans1D2" presStyleIdx="4" presStyleCnt="7"/>
      <dgm:spPr/>
      <dgm:t>
        <a:bodyPr/>
        <a:lstStyle/>
        <a:p>
          <a:endParaRPr lang="en-US"/>
        </a:p>
      </dgm:t>
    </dgm:pt>
    <dgm:pt modelId="{213ED7DD-CD50-47DD-852E-49BF1243BB65}" type="pres">
      <dgm:prSet presAssocID="{AC6AFF4A-4A3E-4F82-852C-4499C0EFF318}" presName="hierRoot2" presStyleCnt="0">
        <dgm:presLayoutVars>
          <dgm:hierBranch val="init"/>
        </dgm:presLayoutVars>
      </dgm:prSet>
      <dgm:spPr/>
    </dgm:pt>
    <dgm:pt modelId="{CB8F67B5-5B6E-42E3-96B4-083157E3343C}" type="pres">
      <dgm:prSet presAssocID="{AC6AFF4A-4A3E-4F82-852C-4499C0EFF318}" presName="rootComposite" presStyleCnt="0"/>
      <dgm:spPr/>
    </dgm:pt>
    <dgm:pt modelId="{5EECEE35-B8FA-475D-8F20-7B98B5B88E03}" type="pres">
      <dgm:prSet presAssocID="{AC6AFF4A-4A3E-4F82-852C-4499C0EFF318}" presName="rootText" presStyleLbl="node2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69DE72B-9F62-4D2B-80B4-9AEE0FD4CCA4}" type="pres">
      <dgm:prSet presAssocID="{AC6AFF4A-4A3E-4F82-852C-4499C0EFF318}" presName="rootConnector" presStyleLbl="node2" presStyleIdx="4" presStyleCnt="7"/>
      <dgm:spPr/>
      <dgm:t>
        <a:bodyPr/>
        <a:lstStyle/>
        <a:p>
          <a:endParaRPr lang="en-US"/>
        </a:p>
      </dgm:t>
    </dgm:pt>
    <dgm:pt modelId="{1950AD8F-F8C5-49BB-9A9C-9734E1420A3A}" type="pres">
      <dgm:prSet presAssocID="{AC6AFF4A-4A3E-4F82-852C-4499C0EFF318}" presName="hierChild4" presStyleCnt="0"/>
      <dgm:spPr/>
    </dgm:pt>
    <dgm:pt modelId="{3028FD0A-ECC8-4C4F-AC84-17C7A6CB0462}" type="pres">
      <dgm:prSet presAssocID="{AC6AFF4A-4A3E-4F82-852C-4499C0EFF318}" presName="hierChild5" presStyleCnt="0"/>
      <dgm:spPr/>
    </dgm:pt>
    <dgm:pt modelId="{20F3EE6A-E645-4513-A761-BF287EA39263}" type="pres">
      <dgm:prSet presAssocID="{F07C5DF7-769B-4786-BBA5-C73E2C72D3DB}" presName="Name37" presStyleLbl="parChTrans1D2" presStyleIdx="5" presStyleCnt="7"/>
      <dgm:spPr/>
      <dgm:t>
        <a:bodyPr/>
        <a:lstStyle/>
        <a:p>
          <a:endParaRPr lang="en-US"/>
        </a:p>
      </dgm:t>
    </dgm:pt>
    <dgm:pt modelId="{0B274376-06EB-45ED-B1E0-C165BAADCDEC}" type="pres">
      <dgm:prSet presAssocID="{124BA5BC-F691-4E61-921E-E203C59C26FB}" presName="hierRoot2" presStyleCnt="0">
        <dgm:presLayoutVars>
          <dgm:hierBranch val="init"/>
        </dgm:presLayoutVars>
      </dgm:prSet>
      <dgm:spPr/>
    </dgm:pt>
    <dgm:pt modelId="{81DCBBA4-1378-46BD-BE65-95B9408E31EF}" type="pres">
      <dgm:prSet presAssocID="{124BA5BC-F691-4E61-921E-E203C59C26FB}" presName="rootComposite" presStyleCnt="0"/>
      <dgm:spPr/>
    </dgm:pt>
    <dgm:pt modelId="{685B6BAD-11B8-4239-ABC3-305B08617747}" type="pres">
      <dgm:prSet presAssocID="{124BA5BC-F691-4E61-921E-E203C59C26FB}" presName="rootText" presStyleLbl="node2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5751DD-6938-4E1F-9C57-A4CC97F43BC9}" type="pres">
      <dgm:prSet presAssocID="{124BA5BC-F691-4E61-921E-E203C59C26FB}" presName="rootConnector" presStyleLbl="node2" presStyleIdx="5" presStyleCnt="7"/>
      <dgm:spPr/>
      <dgm:t>
        <a:bodyPr/>
        <a:lstStyle/>
        <a:p>
          <a:endParaRPr lang="en-US"/>
        </a:p>
      </dgm:t>
    </dgm:pt>
    <dgm:pt modelId="{ABFCA1C3-75E6-4B56-94BF-4A1C731A70C2}" type="pres">
      <dgm:prSet presAssocID="{124BA5BC-F691-4E61-921E-E203C59C26FB}" presName="hierChild4" presStyleCnt="0"/>
      <dgm:spPr/>
    </dgm:pt>
    <dgm:pt modelId="{9C24051B-4DE4-4AED-88DD-DEAB2728DA06}" type="pres">
      <dgm:prSet presAssocID="{124BA5BC-F691-4E61-921E-E203C59C26FB}" presName="hierChild5" presStyleCnt="0"/>
      <dgm:spPr/>
    </dgm:pt>
    <dgm:pt modelId="{EBED1C28-05E4-46C8-963C-57C944D19BD2}" type="pres">
      <dgm:prSet presAssocID="{625BA92D-C4EA-4234-987A-47108961D88B}" presName="Name37" presStyleLbl="parChTrans1D2" presStyleIdx="6" presStyleCnt="7"/>
      <dgm:spPr/>
      <dgm:t>
        <a:bodyPr/>
        <a:lstStyle/>
        <a:p>
          <a:endParaRPr lang="en-US"/>
        </a:p>
      </dgm:t>
    </dgm:pt>
    <dgm:pt modelId="{425213EB-BDC0-47B6-8F76-E142229CF1B7}" type="pres">
      <dgm:prSet presAssocID="{9495C1E0-CDF4-4BC9-8914-CC3013541588}" presName="hierRoot2" presStyleCnt="0">
        <dgm:presLayoutVars>
          <dgm:hierBranch val="init"/>
        </dgm:presLayoutVars>
      </dgm:prSet>
      <dgm:spPr/>
    </dgm:pt>
    <dgm:pt modelId="{F0BD8146-3D14-4CAF-B4B0-27A40581FAA1}" type="pres">
      <dgm:prSet presAssocID="{9495C1E0-CDF4-4BC9-8914-CC3013541588}" presName="rootComposite" presStyleCnt="0"/>
      <dgm:spPr/>
    </dgm:pt>
    <dgm:pt modelId="{80757E9F-AD4A-4CF5-A2F1-99C932AF2B7D}" type="pres">
      <dgm:prSet presAssocID="{9495C1E0-CDF4-4BC9-8914-CC3013541588}" presName="rootText" presStyleLbl="node2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99F2739-A8E1-496B-ABA6-04F0B677205B}" type="pres">
      <dgm:prSet presAssocID="{9495C1E0-CDF4-4BC9-8914-CC3013541588}" presName="rootConnector" presStyleLbl="node2" presStyleIdx="6" presStyleCnt="7"/>
      <dgm:spPr/>
      <dgm:t>
        <a:bodyPr/>
        <a:lstStyle/>
        <a:p>
          <a:endParaRPr lang="en-US"/>
        </a:p>
      </dgm:t>
    </dgm:pt>
    <dgm:pt modelId="{564F61AE-4845-4480-97B2-BA2691F47BBB}" type="pres">
      <dgm:prSet presAssocID="{9495C1E0-CDF4-4BC9-8914-CC3013541588}" presName="hierChild4" presStyleCnt="0"/>
      <dgm:spPr/>
    </dgm:pt>
    <dgm:pt modelId="{32A88351-2D1E-4C9B-813E-74B7DAE0AAB6}" type="pres">
      <dgm:prSet presAssocID="{9495C1E0-CDF4-4BC9-8914-CC3013541588}" presName="hierChild5" presStyleCnt="0"/>
      <dgm:spPr/>
    </dgm:pt>
    <dgm:pt modelId="{CD04A198-2149-4923-AFF6-96560E489FD0}" type="pres">
      <dgm:prSet presAssocID="{E2311BA9-11BB-47DD-A684-B6A919BCD305}" presName="hierChild3" presStyleCnt="0"/>
      <dgm:spPr/>
    </dgm:pt>
  </dgm:ptLst>
  <dgm:cxnLst>
    <dgm:cxn modelId="{919EB101-6F10-4849-924D-104070275E86}" srcId="{E2311BA9-11BB-47DD-A684-B6A919BCD305}" destId="{095CCA3A-9EC6-4BB3-ADA7-62D789197E1D}" srcOrd="1" destOrd="0" parTransId="{0516C438-EBD7-434F-99BB-DB88052BBDCF}" sibTransId="{BCCBB0A4-BCDC-467D-9BAB-15583CA143B3}"/>
    <dgm:cxn modelId="{D07772F4-AFCE-407E-871A-79C622106FB2}" type="presOf" srcId="{0516C438-EBD7-434F-99BB-DB88052BBDCF}" destId="{7DD03AB2-D9DC-4A21-85FA-E313F0259947}" srcOrd="0" destOrd="0" presId="urn:microsoft.com/office/officeart/2005/8/layout/orgChart1"/>
    <dgm:cxn modelId="{646F4BE6-73FE-4D5D-A79A-116781A35F38}" type="presOf" srcId="{625BA92D-C4EA-4234-987A-47108961D88B}" destId="{EBED1C28-05E4-46C8-963C-57C944D19BD2}" srcOrd="0" destOrd="0" presId="urn:microsoft.com/office/officeart/2005/8/layout/orgChart1"/>
    <dgm:cxn modelId="{AB5FE306-D146-4862-81DD-4597ED791DE1}" type="presOf" srcId="{124BA5BC-F691-4E61-921E-E203C59C26FB}" destId="{7F5751DD-6938-4E1F-9C57-A4CC97F43BC9}" srcOrd="1" destOrd="0" presId="urn:microsoft.com/office/officeart/2005/8/layout/orgChart1"/>
    <dgm:cxn modelId="{5BA979F7-2C52-4555-911D-C322F93E18AE}" srcId="{E2311BA9-11BB-47DD-A684-B6A919BCD305}" destId="{124BA5BC-F691-4E61-921E-E203C59C26FB}" srcOrd="5" destOrd="0" parTransId="{F07C5DF7-769B-4786-BBA5-C73E2C72D3DB}" sibTransId="{919CA410-BFA5-49B6-B45A-2FDA8C13F9E1}"/>
    <dgm:cxn modelId="{A1DCCDF8-FA4F-49AC-9D1F-E296FD063A2F}" type="presOf" srcId="{5291469C-9805-471F-B887-B4CA3EAE38B8}" destId="{3D5ED535-AE18-4530-AC12-056D98F68C60}" srcOrd="1" destOrd="0" presId="urn:microsoft.com/office/officeart/2005/8/layout/orgChart1"/>
    <dgm:cxn modelId="{48CF2DCA-2544-4BD1-BD38-4E4695DB3F4D}" type="presOf" srcId="{654A555D-E683-4F34-BAEE-2D42B91D5105}" destId="{5ACE0FDE-3499-4E08-8A8C-9D2D871305DD}" srcOrd="0" destOrd="0" presId="urn:microsoft.com/office/officeart/2005/8/layout/orgChart1"/>
    <dgm:cxn modelId="{D9BB6D1A-7587-4227-A79C-84F95D81877B}" type="presOf" srcId="{9495C1E0-CDF4-4BC9-8914-CC3013541588}" destId="{F99F2739-A8E1-496B-ABA6-04F0B677205B}" srcOrd="1" destOrd="0" presId="urn:microsoft.com/office/officeart/2005/8/layout/orgChart1"/>
    <dgm:cxn modelId="{4A5BDDFB-787E-4804-ACA8-5F87BF2B6C87}" type="presOf" srcId="{DC0251AD-E806-4CC7-9275-D28F5F409638}" destId="{EC8AF41F-272B-4078-AF90-8F8EA4E5CAE0}" srcOrd="0" destOrd="0" presId="urn:microsoft.com/office/officeart/2005/8/layout/orgChart1"/>
    <dgm:cxn modelId="{2CFAFB6C-AE07-4310-9F32-1A1A5E30B360}" type="presOf" srcId="{654A555D-E683-4F34-BAEE-2D42B91D5105}" destId="{6FF0B0AC-1690-427F-ADC5-B89518D95A0D}" srcOrd="1" destOrd="0" presId="urn:microsoft.com/office/officeart/2005/8/layout/orgChart1"/>
    <dgm:cxn modelId="{BC17E58A-2E5C-4577-82A9-71EEE7303790}" type="presOf" srcId="{095CCA3A-9EC6-4BB3-ADA7-62D789197E1D}" destId="{C9112723-5B7D-4AFA-90E5-D8CB8E762DFA}" srcOrd="1" destOrd="0" presId="urn:microsoft.com/office/officeart/2005/8/layout/orgChart1"/>
    <dgm:cxn modelId="{33C8BC5B-11E8-4CF3-BB10-5927C54656B9}" type="presOf" srcId="{DC0251AD-E806-4CC7-9275-D28F5F409638}" destId="{B3C60A6E-5743-41F3-BB44-57E674B71929}" srcOrd="1" destOrd="0" presId="urn:microsoft.com/office/officeart/2005/8/layout/orgChart1"/>
    <dgm:cxn modelId="{E6B48533-4883-479B-B5F8-84568F9AE5ED}" srcId="{E2311BA9-11BB-47DD-A684-B6A919BCD305}" destId="{AC6AFF4A-4A3E-4F82-852C-4499C0EFF318}" srcOrd="4" destOrd="0" parTransId="{5D95F64E-8A60-4F15-88F1-7049E7A1DEBA}" sibTransId="{99F80B11-8D0B-4AE2-87F6-D510C5E19948}"/>
    <dgm:cxn modelId="{557D5B92-AD3D-4388-9602-D6D3CFDD5902}" type="presOf" srcId="{9495C1E0-CDF4-4BC9-8914-CC3013541588}" destId="{80757E9F-AD4A-4CF5-A2F1-99C932AF2B7D}" srcOrd="0" destOrd="0" presId="urn:microsoft.com/office/officeart/2005/8/layout/orgChart1"/>
    <dgm:cxn modelId="{8232A85B-CA3A-4283-92BF-65A821436DD1}" srcId="{0A2716A9-0365-4254-A9D2-1F989EACBF83}" destId="{E2311BA9-11BB-47DD-A684-B6A919BCD305}" srcOrd="0" destOrd="0" parTransId="{89582EBA-5CEE-4F01-AB04-FE8D6EFF0B28}" sibTransId="{A802F2EA-C65C-446D-B06E-5C8E493859BE}"/>
    <dgm:cxn modelId="{42284679-4C70-446C-98A7-E6DB1D3D314B}" srcId="{E2311BA9-11BB-47DD-A684-B6A919BCD305}" destId="{9495C1E0-CDF4-4BC9-8914-CC3013541588}" srcOrd="6" destOrd="0" parTransId="{625BA92D-C4EA-4234-987A-47108961D88B}" sibTransId="{23205AAC-2D55-4B27-89F1-19C3B5E24824}"/>
    <dgm:cxn modelId="{8D49EC73-EDFD-48C5-A16C-22DB99BCC27F}" type="presOf" srcId="{5291469C-9805-471F-B887-B4CA3EAE38B8}" destId="{6CB1C976-E570-4D55-954F-F067E4FA00C8}" srcOrd="0" destOrd="0" presId="urn:microsoft.com/office/officeart/2005/8/layout/orgChart1"/>
    <dgm:cxn modelId="{D5079B76-FC67-44B9-A9C3-2096A5B4ADC8}" type="presOf" srcId="{60A594F8-91D2-4DE7-BBDC-0B9177B95E82}" destId="{E6B65B07-79E7-4DCF-A8F5-B5E62EA1927A}" srcOrd="0" destOrd="0" presId="urn:microsoft.com/office/officeart/2005/8/layout/orgChart1"/>
    <dgm:cxn modelId="{842BDBB3-63BC-4F3F-9905-BBCDD34FF479}" type="presOf" srcId="{AC6AFF4A-4A3E-4F82-852C-4499C0EFF318}" destId="{D69DE72B-9F62-4D2B-80B4-9AEE0FD4CCA4}" srcOrd="1" destOrd="0" presId="urn:microsoft.com/office/officeart/2005/8/layout/orgChart1"/>
    <dgm:cxn modelId="{5F551C12-55AC-4FF4-AA9B-8875DD9FC8BC}" type="presOf" srcId="{E2311BA9-11BB-47DD-A684-B6A919BCD305}" destId="{4D02EFA5-08CF-41AD-AFD2-4CFEA56FCB95}" srcOrd="0" destOrd="0" presId="urn:microsoft.com/office/officeart/2005/8/layout/orgChart1"/>
    <dgm:cxn modelId="{A78D67B8-479D-41CE-A251-4D410907071C}" type="presOf" srcId="{AC6AFF4A-4A3E-4F82-852C-4499C0EFF318}" destId="{5EECEE35-B8FA-475D-8F20-7B98B5B88E03}" srcOrd="0" destOrd="0" presId="urn:microsoft.com/office/officeart/2005/8/layout/orgChart1"/>
    <dgm:cxn modelId="{A264371F-0636-4F39-A4F5-42347FA1BD94}" srcId="{E2311BA9-11BB-47DD-A684-B6A919BCD305}" destId="{654A555D-E683-4F34-BAEE-2D42B91D5105}" srcOrd="0" destOrd="0" parTransId="{B2B519D1-30DF-40C3-9AB3-F058383DBDD9}" sibTransId="{89EE15BE-1094-4208-9452-09097AEEF9D4}"/>
    <dgm:cxn modelId="{3D0480C3-A20A-4A1A-954C-05571D47FF10}" type="presOf" srcId="{5D95F64E-8A60-4F15-88F1-7049E7A1DEBA}" destId="{436E2C99-371B-4224-89F3-58ED1A0F26A8}" srcOrd="0" destOrd="0" presId="urn:microsoft.com/office/officeart/2005/8/layout/orgChart1"/>
    <dgm:cxn modelId="{58477DCA-BF17-4D57-8172-8F171FDF8F36}" type="presOf" srcId="{E2311BA9-11BB-47DD-A684-B6A919BCD305}" destId="{9AB40511-41E9-49DD-9C55-DA2795A98453}" srcOrd="1" destOrd="0" presId="urn:microsoft.com/office/officeart/2005/8/layout/orgChart1"/>
    <dgm:cxn modelId="{937018F6-8C54-48C3-AA89-C904B1A5EDA6}" type="presOf" srcId="{11CD2F34-00DC-40D7-B5D4-04F18CF753D4}" destId="{8C313EC1-CFFD-473C-AE68-DD3AA2514825}" srcOrd="0" destOrd="0" presId="urn:microsoft.com/office/officeart/2005/8/layout/orgChart1"/>
    <dgm:cxn modelId="{6C1061B5-29D6-422E-B2F0-FB35325692DD}" srcId="{E2311BA9-11BB-47DD-A684-B6A919BCD305}" destId="{5291469C-9805-471F-B887-B4CA3EAE38B8}" srcOrd="3" destOrd="0" parTransId="{11CD2F34-00DC-40D7-B5D4-04F18CF753D4}" sibTransId="{9127ECFA-2B2C-4611-8E78-A0D098B432B9}"/>
    <dgm:cxn modelId="{1DA936E7-C8B5-418E-A1B6-FEC002C17F6B}" type="presOf" srcId="{F07C5DF7-769B-4786-BBA5-C73E2C72D3DB}" destId="{20F3EE6A-E645-4513-A761-BF287EA39263}" srcOrd="0" destOrd="0" presId="urn:microsoft.com/office/officeart/2005/8/layout/orgChart1"/>
    <dgm:cxn modelId="{24D09D6D-A0EF-4288-AEFE-A9E3F1F3E2DB}" type="presOf" srcId="{124BA5BC-F691-4E61-921E-E203C59C26FB}" destId="{685B6BAD-11B8-4239-ABC3-305B08617747}" srcOrd="0" destOrd="0" presId="urn:microsoft.com/office/officeart/2005/8/layout/orgChart1"/>
    <dgm:cxn modelId="{AC5044BC-0C8D-4D20-8481-551F43069A8E}" type="presOf" srcId="{0A2716A9-0365-4254-A9D2-1F989EACBF83}" destId="{39F976FE-B02E-47E5-A06B-48EDABDE3993}" srcOrd="0" destOrd="0" presId="urn:microsoft.com/office/officeart/2005/8/layout/orgChart1"/>
    <dgm:cxn modelId="{BBC5C2C1-F915-42FB-85D1-EB73982AFE90}" type="presOf" srcId="{B2B519D1-30DF-40C3-9AB3-F058383DBDD9}" destId="{1EA95537-0AB5-42AD-A015-D1138DAD9778}" srcOrd="0" destOrd="0" presId="urn:microsoft.com/office/officeart/2005/8/layout/orgChart1"/>
    <dgm:cxn modelId="{B5044E8C-8E8B-485F-B27A-36FE0DEF22D0}" srcId="{E2311BA9-11BB-47DD-A684-B6A919BCD305}" destId="{DC0251AD-E806-4CC7-9275-D28F5F409638}" srcOrd="2" destOrd="0" parTransId="{60A594F8-91D2-4DE7-BBDC-0B9177B95E82}" sibTransId="{91F8A925-94BE-46F5-8F42-A481785E337B}"/>
    <dgm:cxn modelId="{269A9BEF-9FAB-42A4-BA9E-1827211E8056}" type="presOf" srcId="{095CCA3A-9EC6-4BB3-ADA7-62D789197E1D}" destId="{55FA91FF-7976-4F3D-82B7-5B5C0ACFBECD}" srcOrd="0" destOrd="0" presId="urn:microsoft.com/office/officeart/2005/8/layout/orgChart1"/>
    <dgm:cxn modelId="{A4D31B92-9B18-4503-B521-D03D7778EE4F}" type="presParOf" srcId="{39F976FE-B02E-47E5-A06B-48EDABDE3993}" destId="{B59DBE84-533F-4F79-BB4E-2B89FA9AC90C}" srcOrd="0" destOrd="0" presId="urn:microsoft.com/office/officeart/2005/8/layout/orgChart1"/>
    <dgm:cxn modelId="{0A7EB634-325A-458E-98A8-C7A42B55314E}" type="presParOf" srcId="{B59DBE84-533F-4F79-BB4E-2B89FA9AC90C}" destId="{026EAF08-49B5-4E3C-9A64-8D8505D89D50}" srcOrd="0" destOrd="0" presId="urn:microsoft.com/office/officeart/2005/8/layout/orgChart1"/>
    <dgm:cxn modelId="{30368AA0-8165-4ED6-B10C-477C646C4D25}" type="presParOf" srcId="{026EAF08-49B5-4E3C-9A64-8D8505D89D50}" destId="{4D02EFA5-08CF-41AD-AFD2-4CFEA56FCB95}" srcOrd="0" destOrd="0" presId="urn:microsoft.com/office/officeart/2005/8/layout/orgChart1"/>
    <dgm:cxn modelId="{E097BD11-BAE7-4A8F-8B00-53B78A54699F}" type="presParOf" srcId="{026EAF08-49B5-4E3C-9A64-8D8505D89D50}" destId="{9AB40511-41E9-49DD-9C55-DA2795A98453}" srcOrd="1" destOrd="0" presId="urn:microsoft.com/office/officeart/2005/8/layout/orgChart1"/>
    <dgm:cxn modelId="{F9891B54-42C3-4946-87B4-FFDEA8649FC6}" type="presParOf" srcId="{B59DBE84-533F-4F79-BB4E-2B89FA9AC90C}" destId="{3E0D8964-9A4F-4020-B252-D614290C78B5}" srcOrd="1" destOrd="0" presId="urn:microsoft.com/office/officeart/2005/8/layout/orgChart1"/>
    <dgm:cxn modelId="{DF029218-F2B6-47C9-A4A2-A44F1B370AC6}" type="presParOf" srcId="{3E0D8964-9A4F-4020-B252-D614290C78B5}" destId="{1EA95537-0AB5-42AD-A015-D1138DAD9778}" srcOrd="0" destOrd="0" presId="urn:microsoft.com/office/officeart/2005/8/layout/orgChart1"/>
    <dgm:cxn modelId="{B0C2C4A4-8764-44F3-9114-816BF4AA7ABA}" type="presParOf" srcId="{3E0D8964-9A4F-4020-B252-D614290C78B5}" destId="{4B110E85-FD66-4D6B-BBE9-2AC9DF5B2492}" srcOrd="1" destOrd="0" presId="urn:microsoft.com/office/officeart/2005/8/layout/orgChart1"/>
    <dgm:cxn modelId="{FF0496AA-B14C-4451-8F7C-B3D01643EE36}" type="presParOf" srcId="{4B110E85-FD66-4D6B-BBE9-2AC9DF5B2492}" destId="{EE67D4E4-70EC-46B9-968C-453F4503E72A}" srcOrd="0" destOrd="0" presId="urn:microsoft.com/office/officeart/2005/8/layout/orgChart1"/>
    <dgm:cxn modelId="{6CF4AADE-647F-4FA5-A187-4AAAFB009CBF}" type="presParOf" srcId="{EE67D4E4-70EC-46B9-968C-453F4503E72A}" destId="{5ACE0FDE-3499-4E08-8A8C-9D2D871305DD}" srcOrd="0" destOrd="0" presId="urn:microsoft.com/office/officeart/2005/8/layout/orgChart1"/>
    <dgm:cxn modelId="{DCA23D9F-CF04-49AC-8A15-1B057F116503}" type="presParOf" srcId="{EE67D4E4-70EC-46B9-968C-453F4503E72A}" destId="{6FF0B0AC-1690-427F-ADC5-B89518D95A0D}" srcOrd="1" destOrd="0" presId="urn:microsoft.com/office/officeart/2005/8/layout/orgChart1"/>
    <dgm:cxn modelId="{1982448F-89E2-4C5F-95D2-4F2A4CA5A73F}" type="presParOf" srcId="{4B110E85-FD66-4D6B-BBE9-2AC9DF5B2492}" destId="{E2E1A1AE-1625-45D8-A475-76CC9A8E10CF}" srcOrd="1" destOrd="0" presId="urn:microsoft.com/office/officeart/2005/8/layout/orgChart1"/>
    <dgm:cxn modelId="{7B9C956A-7C8B-4636-9676-76DA3116C9FF}" type="presParOf" srcId="{4B110E85-FD66-4D6B-BBE9-2AC9DF5B2492}" destId="{BA3C6BBF-A671-414F-81F6-93D27B5BF516}" srcOrd="2" destOrd="0" presId="urn:microsoft.com/office/officeart/2005/8/layout/orgChart1"/>
    <dgm:cxn modelId="{E832FE6E-792A-4DD2-B1C5-0257780C3748}" type="presParOf" srcId="{3E0D8964-9A4F-4020-B252-D614290C78B5}" destId="{7DD03AB2-D9DC-4A21-85FA-E313F0259947}" srcOrd="2" destOrd="0" presId="urn:microsoft.com/office/officeart/2005/8/layout/orgChart1"/>
    <dgm:cxn modelId="{6E8244AB-947D-4B39-9607-8AE68A86281B}" type="presParOf" srcId="{3E0D8964-9A4F-4020-B252-D614290C78B5}" destId="{153C383D-3C2C-455F-A748-FD22A4BBE04F}" srcOrd="3" destOrd="0" presId="urn:microsoft.com/office/officeart/2005/8/layout/orgChart1"/>
    <dgm:cxn modelId="{EEA0FCCC-3747-4C07-BCF8-80BF097D0855}" type="presParOf" srcId="{153C383D-3C2C-455F-A748-FD22A4BBE04F}" destId="{D80F8926-9775-4B27-850E-B9BE446E809C}" srcOrd="0" destOrd="0" presId="urn:microsoft.com/office/officeart/2005/8/layout/orgChart1"/>
    <dgm:cxn modelId="{49E5EB55-24B2-4B33-B7DB-B718BA6E1E48}" type="presParOf" srcId="{D80F8926-9775-4B27-850E-B9BE446E809C}" destId="{55FA91FF-7976-4F3D-82B7-5B5C0ACFBECD}" srcOrd="0" destOrd="0" presId="urn:microsoft.com/office/officeart/2005/8/layout/orgChart1"/>
    <dgm:cxn modelId="{6C20CC8F-79AB-46F2-8BB2-83E17D42F4A0}" type="presParOf" srcId="{D80F8926-9775-4B27-850E-B9BE446E809C}" destId="{C9112723-5B7D-4AFA-90E5-D8CB8E762DFA}" srcOrd="1" destOrd="0" presId="urn:microsoft.com/office/officeart/2005/8/layout/orgChart1"/>
    <dgm:cxn modelId="{EDFF21DD-763D-4139-B46D-69A8D5EF3D15}" type="presParOf" srcId="{153C383D-3C2C-455F-A748-FD22A4BBE04F}" destId="{B9F54D87-04CC-4D90-AC2D-7626275D84AD}" srcOrd="1" destOrd="0" presId="urn:microsoft.com/office/officeart/2005/8/layout/orgChart1"/>
    <dgm:cxn modelId="{16B21010-484A-4CFC-8C69-3207939F938D}" type="presParOf" srcId="{153C383D-3C2C-455F-A748-FD22A4BBE04F}" destId="{6F2AADF7-B442-4D76-91B1-7C03E01473D8}" srcOrd="2" destOrd="0" presId="urn:microsoft.com/office/officeart/2005/8/layout/orgChart1"/>
    <dgm:cxn modelId="{CE98DF6A-9F16-4342-A778-2CECC30E843F}" type="presParOf" srcId="{3E0D8964-9A4F-4020-B252-D614290C78B5}" destId="{E6B65B07-79E7-4DCF-A8F5-B5E62EA1927A}" srcOrd="4" destOrd="0" presId="urn:microsoft.com/office/officeart/2005/8/layout/orgChart1"/>
    <dgm:cxn modelId="{276923AC-0DD9-47CC-981E-40A48650AA56}" type="presParOf" srcId="{3E0D8964-9A4F-4020-B252-D614290C78B5}" destId="{DCD3B5E7-F01F-4C14-A11F-9E0C4C643760}" srcOrd="5" destOrd="0" presId="urn:microsoft.com/office/officeart/2005/8/layout/orgChart1"/>
    <dgm:cxn modelId="{0FFBF75F-B59E-4A7D-912D-228A2CC51CB7}" type="presParOf" srcId="{DCD3B5E7-F01F-4C14-A11F-9E0C4C643760}" destId="{58758E7B-FADD-43FB-AFEC-B5B2D46A1D26}" srcOrd="0" destOrd="0" presId="urn:microsoft.com/office/officeart/2005/8/layout/orgChart1"/>
    <dgm:cxn modelId="{7E07BB42-1CE4-4461-ACB6-99F64B2E877F}" type="presParOf" srcId="{58758E7B-FADD-43FB-AFEC-B5B2D46A1D26}" destId="{EC8AF41F-272B-4078-AF90-8F8EA4E5CAE0}" srcOrd="0" destOrd="0" presId="urn:microsoft.com/office/officeart/2005/8/layout/orgChart1"/>
    <dgm:cxn modelId="{C5F80121-A595-45B5-BBE3-A5B9293C4C86}" type="presParOf" srcId="{58758E7B-FADD-43FB-AFEC-B5B2D46A1D26}" destId="{B3C60A6E-5743-41F3-BB44-57E674B71929}" srcOrd="1" destOrd="0" presId="urn:microsoft.com/office/officeart/2005/8/layout/orgChart1"/>
    <dgm:cxn modelId="{1887045C-9E58-4F10-8BDB-66E88B2F17F4}" type="presParOf" srcId="{DCD3B5E7-F01F-4C14-A11F-9E0C4C643760}" destId="{7FC97500-145B-46EC-BCD7-2D4184327CBF}" srcOrd="1" destOrd="0" presId="urn:microsoft.com/office/officeart/2005/8/layout/orgChart1"/>
    <dgm:cxn modelId="{B5FABC7E-2E36-4428-A55B-4CDA2DB03A42}" type="presParOf" srcId="{DCD3B5E7-F01F-4C14-A11F-9E0C4C643760}" destId="{726E4591-7CAE-48DD-BB8A-FAD9CD6EF931}" srcOrd="2" destOrd="0" presId="urn:microsoft.com/office/officeart/2005/8/layout/orgChart1"/>
    <dgm:cxn modelId="{03908C92-B024-4264-8A9C-7A173CA5F947}" type="presParOf" srcId="{3E0D8964-9A4F-4020-B252-D614290C78B5}" destId="{8C313EC1-CFFD-473C-AE68-DD3AA2514825}" srcOrd="6" destOrd="0" presId="urn:microsoft.com/office/officeart/2005/8/layout/orgChart1"/>
    <dgm:cxn modelId="{ECE3BB97-5A2B-43DB-BB51-EAFB84C0169D}" type="presParOf" srcId="{3E0D8964-9A4F-4020-B252-D614290C78B5}" destId="{FA4E60D9-8818-4595-A613-7FACC25ED766}" srcOrd="7" destOrd="0" presId="urn:microsoft.com/office/officeart/2005/8/layout/orgChart1"/>
    <dgm:cxn modelId="{1B02A4D1-BDB0-4C7F-8166-2BD584CBB8D3}" type="presParOf" srcId="{FA4E60D9-8818-4595-A613-7FACC25ED766}" destId="{45B8A45E-5BF3-4F3F-92B3-5633C82CF883}" srcOrd="0" destOrd="0" presId="urn:microsoft.com/office/officeart/2005/8/layout/orgChart1"/>
    <dgm:cxn modelId="{527E9ED8-A9A4-4F3D-A5C0-11653C238081}" type="presParOf" srcId="{45B8A45E-5BF3-4F3F-92B3-5633C82CF883}" destId="{6CB1C976-E570-4D55-954F-F067E4FA00C8}" srcOrd="0" destOrd="0" presId="urn:microsoft.com/office/officeart/2005/8/layout/orgChart1"/>
    <dgm:cxn modelId="{01018893-FCA7-4CF8-B951-B3A55F7BB176}" type="presParOf" srcId="{45B8A45E-5BF3-4F3F-92B3-5633C82CF883}" destId="{3D5ED535-AE18-4530-AC12-056D98F68C60}" srcOrd="1" destOrd="0" presId="urn:microsoft.com/office/officeart/2005/8/layout/orgChart1"/>
    <dgm:cxn modelId="{F352B22D-503B-430F-8AFF-E76C81ECC0B9}" type="presParOf" srcId="{FA4E60D9-8818-4595-A613-7FACC25ED766}" destId="{B1191EF4-4C8B-4AE2-9B05-91004E0E8848}" srcOrd="1" destOrd="0" presId="urn:microsoft.com/office/officeart/2005/8/layout/orgChart1"/>
    <dgm:cxn modelId="{97625CF5-9C20-48E7-891F-206D3F9EEAF4}" type="presParOf" srcId="{FA4E60D9-8818-4595-A613-7FACC25ED766}" destId="{DE8942A5-1EF4-48DB-B417-BCA16D920BE5}" srcOrd="2" destOrd="0" presId="urn:microsoft.com/office/officeart/2005/8/layout/orgChart1"/>
    <dgm:cxn modelId="{E314A50C-D65F-41AE-A1F1-F422413F3F6C}" type="presParOf" srcId="{3E0D8964-9A4F-4020-B252-D614290C78B5}" destId="{436E2C99-371B-4224-89F3-58ED1A0F26A8}" srcOrd="8" destOrd="0" presId="urn:microsoft.com/office/officeart/2005/8/layout/orgChart1"/>
    <dgm:cxn modelId="{43836132-6154-4020-97FD-8244A6C621D6}" type="presParOf" srcId="{3E0D8964-9A4F-4020-B252-D614290C78B5}" destId="{213ED7DD-CD50-47DD-852E-49BF1243BB65}" srcOrd="9" destOrd="0" presId="urn:microsoft.com/office/officeart/2005/8/layout/orgChart1"/>
    <dgm:cxn modelId="{E012ACAF-8D39-48BB-925A-EFF92C2AE26A}" type="presParOf" srcId="{213ED7DD-CD50-47DD-852E-49BF1243BB65}" destId="{CB8F67B5-5B6E-42E3-96B4-083157E3343C}" srcOrd="0" destOrd="0" presId="urn:microsoft.com/office/officeart/2005/8/layout/orgChart1"/>
    <dgm:cxn modelId="{E97F3D27-D3EE-47E6-8C28-42FADFE3B755}" type="presParOf" srcId="{CB8F67B5-5B6E-42E3-96B4-083157E3343C}" destId="{5EECEE35-B8FA-475D-8F20-7B98B5B88E03}" srcOrd="0" destOrd="0" presId="urn:microsoft.com/office/officeart/2005/8/layout/orgChart1"/>
    <dgm:cxn modelId="{B4309D13-EB37-41A5-BF5E-63C14A16442C}" type="presParOf" srcId="{CB8F67B5-5B6E-42E3-96B4-083157E3343C}" destId="{D69DE72B-9F62-4D2B-80B4-9AEE0FD4CCA4}" srcOrd="1" destOrd="0" presId="urn:microsoft.com/office/officeart/2005/8/layout/orgChart1"/>
    <dgm:cxn modelId="{84E8D973-80D3-4064-85F6-AD29AA33943B}" type="presParOf" srcId="{213ED7DD-CD50-47DD-852E-49BF1243BB65}" destId="{1950AD8F-F8C5-49BB-9A9C-9734E1420A3A}" srcOrd="1" destOrd="0" presId="urn:microsoft.com/office/officeart/2005/8/layout/orgChart1"/>
    <dgm:cxn modelId="{69025FC5-DDEC-446D-86D0-68098CCA84B5}" type="presParOf" srcId="{213ED7DD-CD50-47DD-852E-49BF1243BB65}" destId="{3028FD0A-ECC8-4C4F-AC84-17C7A6CB0462}" srcOrd="2" destOrd="0" presId="urn:microsoft.com/office/officeart/2005/8/layout/orgChart1"/>
    <dgm:cxn modelId="{79385B31-23F3-45CE-9FB9-E200E38CC5E6}" type="presParOf" srcId="{3E0D8964-9A4F-4020-B252-D614290C78B5}" destId="{20F3EE6A-E645-4513-A761-BF287EA39263}" srcOrd="10" destOrd="0" presId="urn:microsoft.com/office/officeart/2005/8/layout/orgChart1"/>
    <dgm:cxn modelId="{EAA0F60E-7170-4A30-9615-24D2D9494F6D}" type="presParOf" srcId="{3E0D8964-9A4F-4020-B252-D614290C78B5}" destId="{0B274376-06EB-45ED-B1E0-C165BAADCDEC}" srcOrd="11" destOrd="0" presId="urn:microsoft.com/office/officeart/2005/8/layout/orgChart1"/>
    <dgm:cxn modelId="{285653AB-81F3-42C3-A153-37886BEEC1A7}" type="presParOf" srcId="{0B274376-06EB-45ED-B1E0-C165BAADCDEC}" destId="{81DCBBA4-1378-46BD-BE65-95B9408E31EF}" srcOrd="0" destOrd="0" presId="urn:microsoft.com/office/officeart/2005/8/layout/orgChart1"/>
    <dgm:cxn modelId="{672B73A3-6364-4392-B781-9DE02047BEC0}" type="presParOf" srcId="{81DCBBA4-1378-46BD-BE65-95B9408E31EF}" destId="{685B6BAD-11B8-4239-ABC3-305B08617747}" srcOrd="0" destOrd="0" presId="urn:microsoft.com/office/officeart/2005/8/layout/orgChart1"/>
    <dgm:cxn modelId="{6ECE26B6-EFFC-413B-9EEB-89DB6F5EA9A3}" type="presParOf" srcId="{81DCBBA4-1378-46BD-BE65-95B9408E31EF}" destId="{7F5751DD-6938-4E1F-9C57-A4CC97F43BC9}" srcOrd="1" destOrd="0" presId="urn:microsoft.com/office/officeart/2005/8/layout/orgChart1"/>
    <dgm:cxn modelId="{990BF4F0-4E68-4194-BCA4-7FE6E418322A}" type="presParOf" srcId="{0B274376-06EB-45ED-B1E0-C165BAADCDEC}" destId="{ABFCA1C3-75E6-4B56-94BF-4A1C731A70C2}" srcOrd="1" destOrd="0" presId="urn:microsoft.com/office/officeart/2005/8/layout/orgChart1"/>
    <dgm:cxn modelId="{413707CC-5CA6-4415-BCC5-49C5B08F64AA}" type="presParOf" srcId="{0B274376-06EB-45ED-B1E0-C165BAADCDEC}" destId="{9C24051B-4DE4-4AED-88DD-DEAB2728DA06}" srcOrd="2" destOrd="0" presId="urn:microsoft.com/office/officeart/2005/8/layout/orgChart1"/>
    <dgm:cxn modelId="{8659807C-B2BD-4B65-9F55-6AED68A33726}" type="presParOf" srcId="{3E0D8964-9A4F-4020-B252-D614290C78B5}" destId="{EBED1C28-05E4-46C8-963C-57C944D19BD2}" srcOrd="12" destOrd="0" presId="urn:microsoft.com/office/officeart/2005/8/layout/orgChart1"/>
    <dgm:cxn modelId="{6E8C9DDA-0630-45CD-878B-8A53F0B259B2}" type="presParOf" srcId="{3E0D8964-9A4F-4020-B252-D614290C78B5}" destId="{425213EB-BDC0-47B6-8F76-E142229CF1B7}" srcOrd="13" destOrd="0" presId="urn:microsoft.com/office/officeart/2005/8/layout/orgChart1"/>
    <dgm:cxn modelId="{21F1067F-0C3E-4BE7-8F78-DAF909B24312}" type="presParOf" srcId="{425213EB-BDC0-47B6-8F76-E142229CF1B7}" destId="{F0BD8146-3D14-4CAF-B4B0-27A40581FAA1}" srcOrd="0" destOrd="0" presId="urn:microsoft.com/office/officeart/2005/8/layout/orgChart1"/>
    <dgm:cxn modelId="{3606F533-C5B9-4853-AAFF-D74570851F0E}" type="presParOf" srcId="{F0BD8146-3D14-4CAF-B4B0-27A40581FAA1}" destId="{80757E9F-AD4A-4CF5-A2F1-99C932AF2B7D}" srcOrd="0" destOrd="0" presId="urn:microsoft.com/office/officeart/2005/8/layout/orgChart1"/>
    <dgm:cxn modelId="{15C4F18E-20E5-4F8C-884C-3724BF5E97B3}" type="presParOf" srcId="{F0BD8146-3D14-4CAF-B4B0-27A40581FAA1}" destId="{F99F2739-A8E1-496B-ABA6-04F0B677205B}" srcOrd="1" destOrd="0" presId="urn:microsoft.com/office/officeart/2005/8/layout/orgChart1"/>
    <dgm:cxn modelId="{7D437D69-5974-47F9-A3D9-D913BA959F15}" type="presParOf" srcId="{425213EB-BDC0-47B6-8F76-E142229CF1B7}" destId="{564F61AE-4845-4480-97B2-BA2691F47BBB}" srcOrd="1" destOrd="0" presId="urn:microsoft.com/office/officeart/2005/8/layout/orgChart1"/>
    <dgm:cxn modelId="{A298B441-F0DB-44E4-9334-9808627B8189}" type="presParOf" srcId="{425213EB-BDC0-47B6-8F76-E142229CF1B7}" destId="{32A88351-2D1E-4C9B-813E-74B7DAE0AAB6}" srcOrd="2" destOrd="0" presId="urn:microsoft.com/office/officeart/2005/8/layout/orgChart1"/>
    <dgm:cxn modelId="{1DFB26B4-8616-4056-9E90-53C0F85D2388}" type="presParOf" srcId="{B59DBE84-533F-4F79-BB4E-2B89FA9AC90C}" destId="{CD04A198-2149-4923-AFF6-96560E489FD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ED1C28-05E4-46C8-963C-57C944D19BD2}">
      <dsp:nvSpPr>
        <dsp:cNvPr id="0" name=""/>
        <dsp:cNvSpPr/>
      </dsp:nvSpPr>
      <dsp:spPr>
        <a:xfrm>
          <a:off x="4142177" y="806308"/>
          <a:ext cx="3638803" cy="2105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254"/>
              </a:lnTo>
              <a:lnTo>
                <a:pt x="3638803" y="105254"/>
              </a:lnTo>
              <a:lnTo>
                <a:pt x="3638803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F3EE6A-E645-4513-A761-BF287EA39263}">
      <dsp:nvSpPr>
        <dsp:cNvPr id="0" name=""/>
        <dsp:cNvSpPr/>
      </dsp:nvSpPr>
      <dsp:spPr>
        <a:xfrm>
          <a:off x="4142177" y="806308"/>
          <a:ext cx="2425868" cy="2105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254"/>
              </a:lnTo>
              <a:lnTo>
                <a:pt x="2425868" y="105254"/>
              </a:lnTo>
              <a:lnTo>
                <a:pt x="2425868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6E2C99-371B-4224-89F3-58ED1A0F26A8}">
      <dsp:nvSpPr>
        <dsp:cNvPr id="0" name=""/>
        <dsp:cNvSpPr/>
      </dsp:nvSpPr>
      <dsp:spPr>
        <a:xfrm>
          <a:off x="4142177" y="806308"/>
          <a:ext cx="1212934" cy="2105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254"/>
              </a:lnTo>
              <a:lnTo>
                <a:pt x="1212934" y="105254"/>
              </a:lnTo>
              <a:lnTo>
                <a:pt x="1212934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313EC1-CFFD-473C-AE68-DD3AA2514825}">
      <dsp:nvSpPr>
        <dsp:cNvPr id="0" name=""/>
        <dsp:cNvSpPr/>
      </dsp:nvSpPr>
      <dsp:spPr>
        <a:xfrm>
          <a:off x="4096457" y="806308"/>
          <a:ext cx="91440" cy="2105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B65B07-79E7-4DCF-A8F5-B5E62EA1927A}">
      <dsp:nvSpPr>
        <dsp:cNvPr id="0" name=""/>
        <dsp:cNvSpPr/>
      </dsp:nvSpPr>
      <dsp:spPr>
        <a:xfrm>
          <a:off x="2929243" y="806308"/>
          <a:ext cx="1212934" cy="210509"/>
        </a:xfrm>
        <a:custGeom>
          <a:avLst/>
          <a:gdLst/>
          <a:ahLst/>
          <a:cxnLst/>
          <a:rect l="0" t="0" r="0" b="0"/>
          <a:pathLst>
            <a:path>
              <a:moveTo>
                <a:pt x="1212934" y="0"/>
              </a:moveTo>
              <a:lnTo>
                <a:pt x="1212934" y="105254"/>
              </a:lnTo>
              <a:lnTo>
                <a:pt x="0" y="105254"/>
              </a:lnTo>
              <a:lnTo>
                <a:pt x="0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D03AB2-D9DC-4A21-85FA-E313F0259947}">
      <dsp:nvSpPr>
        <dsp:cNvPr id="0" name=""/>
        <dsp:cNvSpPr/>
      </dsp:nvSpPr>
      <dsp:spPr>
        <a:xfrm>
          <a:off x="1716308" y="806308"/>
          <a:ext cx="2425868" cy="210509"/>
        </a:xfrm>
        <a:custGeom>
          <a:avLst/>
          <a:gdLst/>
          <a:ahLst/>
          <a:cxnLst/>
          <a:rect l="0" t="0" r="0" b="0"/>
          <a:pathLst>
            <a:path>
              <a:moveTo>
                <a:pt x="2425868" y="0"/>
              </a:moveTo>
              <a:lnTo>
                <a:pt x="2425868" y="105254"/>
              </a:lnTo>
              <a:lnTo>
                <a:pt x="0" y="105254"/>
              </a:lnTo>
              <a:lnTo>
                <a:pt x="0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A95537-0AB5-42AD-A015-D1138DAD9778}">
      <dsp:nvSpPr>
        <dsp:cNvPr id="0" name=""/>
        <dsp:cNvSpPr/>
      </dsp:nvSpPr>
      <dsp:spPr>
        <a:xfrm>
          <a:off x="503374" y="806308"/>
          <a:ext cx="3638803" cy="210509"/>
        </a:xfrm>
        <a:custGeom>
          <a:avLst/>
          <a:gdLst/>
          <a:ahLst/>
          <a:cxnLst/>
          <a:rect l="0" t="0" r="0" b="0"/>
          <a:pathLst>
            <a:path>
              <a:moveTo>
                <a:pt x="3638803" y="0"/>
              </a:moveTo>
              <a:lnTo>
                <a:pt x="3638803" y="105254"/>
              </a:lnTo>
              <a:lnTo>
                <a:pt x="0" y="105254"/>
              </a:lnTo>
              <a:lnTo>
                <a:pt x="0" y="210509"/>
              </a:lnTo>
            </a:path>
          </a:pathLst>
        </a:custGeom>
        <a:noFill/>
        <a:ln w="25400" cap="flat" cmpd="sng" algn="ctr">
          <a:solidFill>
            <a:schemeClr val="accent6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02EFA5-08CF-41AD-AFD2-4CFEA56FCB95}">
      <dsp:nvSpPr>
        <dsp:cNvPr id="0" name=""/>
        <dsp:cNvSpPr/>
      </dsp:nvSpPr>
      <dsp:spPr>
        <a:xfrm>
          <a:off x="3497387" y="248664"/>
          <a:ext cx="1289579" cy="557644"/>
        </a:xfrm>
        <a:prstGeom prst="rect">
          <a:avLst/>
        </a:prstGeom>
        <a:solidFill>
          <a:schemeClr val="accent6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Rounok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7.8 yrs)</a:t>
          </a:r>
          <a:endParaRPr lang="en-US" sz="1400" kern="1200" dirty="0">
            <a:latin typeface="Calibri" pitchFamily="34" charset="0"/>
          </a:endParaRPr>
        </a:p>
      </dsp:txBody>
      <dsp:txXfrm>
        <a:off x="3497387" y="248664"/>
        <a:ext cx="1289579" cy="557644"/>
      </dsp:txXfrm>
    </dsp:sp>
    <dsp:sp modelId="{5ACE0FDE-3499-4E08-8A8C-9D2D871305DD}">
      <dsp:nvSpPr>
        <dsp:cNvPr id="0" name=""/>
        <dsp:cNvSpPr/>
      </dsp:nvSpPr>
      <dsp:spPr>
        <a:xfrm>
          <a:off x="2161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Muzahid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2.6 yrs)</a:t>
          </a:r>
          <a:endParaRPr lang="en-US" sz="1400" kern="1200" dirty="0">
            <a:latin typeface="Calibri" pitchFamily="34" charset="0"/>
          </a:endParaRPr>
        </a:p>
      </dsp:txBody>
      <dsp:txXfrm>
        <a:off x="2161" y="1016817"/>
        <a:ext cx="1002425" cy="501212"/>
      </dsp:txXfrm>
    </dsp:sp>
    <dsp:sp modelId="{55FA91FF-7976-4F3D-82B7-5B5C0ACFBECD}">
      <dsp:nvSpPr>
        <dsp:cNvPr id="0" name=""/>
        <dsp:cNvSpPr/>
      </dsp:nvSpPr>
      <dsp:spPr>
        <a:xfrm>
          <a:off x="1215096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Afifa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2.7 yrs)</a:t>
          </a:r>
          <a:endParaRPr lang="en-US" sz="1400" kern="1200" dirty="0">
            <a:latin typeface="Calibri" pitchFamily="34" charset="0"/>
          </a:endParaRPr>
        </a:p>
      </dsp:txBody>
      <dsp:txXfrm>
        <a:off x="1215096" y="1016817"/>
        <a:ext cx="1002425" cy="501212"/>
      </dsp:txXfrm>
    </dsp:sp>
    <dsp:sp modelId="{EC8AF41F-272B-4078-AF90-8F8EA4E5CAE0}">
      <dsp:nvSpPr>
        <dsp:cNvPr id="0" name=""/>
        <dsp:cNvSpPr/>
      </dsp:nvSpPr>
      <dsp:spPr>
        <a:xfrm>
          <a:off x="2428030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Farzana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3.2 yrs)</a:t>
          </a:r>
          <a:endParaRPr lang="en-US" sz="1400" kern="1200" dirty="0">
            <a:latin typeface="Calibri" pitchFamily="34" charset="0"/>
          </a:endParaRPr>
        </a:p>
      </dsp:txBody>
      <dsp:txXfrm>
        <a:off x="2428030" y="1016817"/>
        <a:ext cx="1002425" cy="501212"/>
      </dsp:txXfrm>
    </dsp:sp>
    <dsp:sp modelId="{6CB1C976-E570-4D55-954F-F067E4FA00C8}">
      <dsp:nvSpPr>
        <dsp:cNvPr id="0" name=""/>
        <dsp:cNvSpPr/>
      </dsp:nvSpPr>
      <dsp:spPr>
        <a:xfrm>
          <a:off x="3640964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Aamir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3 yrs)</a:t>
          </a:r>
          <a:endParaRPr lang="en-US" sz="1400" kern="1200" dirty="0">
            <a:latin typeface="Calibri" pitchFamily="34" charset="0"/>
          </a:endParaRPr>
        </a:p>
      </dsp:txBody>
      <dsp:txXfrm>
        <a:off x="3640964" y="1016817"/>
        <a:ext cx="1002425" cy="501212"/>
      </dsp:txXfrm>
    </dsp:sp>
    <dsp:sp modelId="{5EECEE35-B8FA-475D-8F20-7B98B5B88E03}">
      <dsp:nvSpPr>
        <dsp:cNvPr id="0" name=""/>
        <dsp:cNvSpPr/>
      </dsp:nvSpPr>
      <dsp:spPr>
        <a:xfrm>
          <a:off x="4853899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Anika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3.5 yrs)</a:t>
          </a:r>
          <a:endParaRPr lang="en-US" sz="1400" kern="1200" dirty="0">
            <a:latin typeface="Calibri" pitchFamily="34" charset="0"/>
          </a:endParaRPr>
        </a:p>
      </dsp:txBody>
      <dsp:txXfrm>
        <a:off x="4853899" y="1016817"/>
        <a:ext cx="1002425" cy="501212"/>
      </dsp:txXfrm>
    </dsp:sp>
    <dsp:sp modelId="{685B6BAD-11B8-4239-ABC3-305B08617747}">
      <dsp:nvSpPr>
        <dsp:cNvPr id="0" name=""/>
        <dsp:cNvSpPr/>
      </dsp:nvSpPr>
      <dsp:spPr>
        <a:xfrm>
          <a:off x="6066833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Shimul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2.6 yrs)</a:t>
          </a:r>
          <a:endParaRPr lang="en-US" sz="1400" kern="1200" dirty="0">
            <a:latin typeface="Calibri" pitchFamily="34" charset="0"/>
          </a:endParaRPr>
        </a:p>
      </dsp:txBody>
      <dsp:txXfrm>
        <a:off x="6066833" y="1016817"/>
        <a:ext cx="1002425" cy="501212"/>
      </dsp:txXfrm>
    </dsp:sp>
    <dsp:sp modelId="{80757E9F-AD4A-4CF5-A2F1-99C932AF2B7D}">
      <dsp:nvSpPr>
        <dsp:cNvPr id="0" name=""/>
        <dsp:cNvSpPr/>
      </dsp:nvSpPr>
      <dsp:spPr>
        <a:xfrm>
          <a:off x="7279768" y="1016817"/>
          <a:ext cx="1002425" cy="501212"/>
        </a:xfrm>
        <a:prstGeom prst="rect">
          <a:avLst/>
        </a:prstGeom>
        <a:solidFill>
          <a:schemeClr val="accent6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Taufiq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latin typeface="Calibri" pitchFamily="34" charset="0"/>
            </a:rPr>
            <a:t>(2.3 yrs)</a:t>
          </a:r>
          <a:endParaRPr lang="en-US" sz="1400" kern="1200" dirty="0">
            <a:latin typeface="Calibri" pitchFamily="34" charset="0"/>
          </a:endParaRPr>
        </a:p>
      </dsp:txBody>
      <dsp:txXfrm>
        <a:off x="7279768" y="1016817"/>
        <a:ext cx="1002425" cy="5012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AC26D13-70B9-4336-AE51-B66B93450EB4}" type="datetimeFigureOut">
              <a:rPr lang="en-GB" smtClean="0"/>
              <a:pPr/>
              <a:t>12/05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3710CEF8-DCE8-49BF-8142-2EF53A72E16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413670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5EC99F3-6E83-447A-8D93-F5A4B03482F7}" type="datetimeFigureOut">
              <a:rPr lang="en-US" smtClean="0"/>
              <a:pPr/>
              <a:t>5/1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E8A5628-AE28-448F-B842-EE730DAAE7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11265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8A5628-AE28-448F-B842-EE730DAAE7C5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3237">
              <a:defRPr/>
            </a:pPr>
            <a:endParaRPr lang="en-US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11F50-97A6-4263-85A3-35C12321E85F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5561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3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18.v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19.v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0.v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1.v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2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3.v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4.v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5.v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6.v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7.v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8.v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9.v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30.v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31.v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3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33.vml"/><Relationship Id="rId4" Type="http://schemas.openxmlformats.org/officeDocument/2006/relationships/image" Target="../media/image13.pn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34.v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35.v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36.v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37.v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38.v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39.v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2.vml"/><Relationship Id="rId4" Type="http://schemas.openxmlformats.org/officeDocument/2006/relationships/image" Target="../media/image3.jpe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3.v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4.v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5.v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6.v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7.v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8.v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49.v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0.v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1.v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2.v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3.v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4.v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5.v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6.v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7.vml"/><Relationship Id="rId4" Type="http://schemas.openxmlformats.org/officeDocument/2006/relationships/image" Target="../media/image13.png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5.xml"/><Relationship Id="rId1" Type="http://schemas.openxmlformats.org/officeDocument/2006/relationships/vmlDrawing" Target="../drawings/vmlDrawing58.v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1.vml"/><Relationship Id="rId4" Type="http://schemas.openxmlformats.org/officeDocument/2006/relationships/image" Target="../media/image3.jpe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2.v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3.v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4.v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5.v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6.v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7.v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8.v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69.v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0.v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1.v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2.v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3.v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4.v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5.v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6.vml"/><Relationship Id="rId4" Type="http://schemas.openxmlformats.org/officeDocument/2006/relationships/image" Target="../media/image13.pn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77.v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1.v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2.v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3.v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4.v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5.v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6.v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7.v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8.v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89.v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18.xml"/><Relationship Id="rId1" Type="http://schemas.openxmlformats.org/officeDocument/2006/relationships/vmlDrawing" Target="../drawings/vmlDrawing90.vml"/><Relationship Id="rId4" Type="http://schemas.openxmlformats.org/officeDocument/2006/relationships/image" Target="../media/image10.jpe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3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91.v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3.xml"/><Relationship Id="rId1" Type="http://schemas.openxmlformats.org/officeDocument/2006/relationships/vmlDrawing" Target="../drawings/vmlDrawing92.v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5.v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6.v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7.v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8.v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9.v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0.v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1.v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2.v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3.v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0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32285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9507" name="think-cell Slide" r:id="rId3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11" name="Picture 10" descr="IMSHlogo_RGB_300px_TM_IA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17606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3051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0531" name="think-cell Slide" r:id="rId3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7" name="Picture 6" descr="IMSHlogo_RGB_300px_TM_IA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7725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8727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155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98011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0547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257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262411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51364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60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2000"/>
            </a:lvl1pPr>
            <a:lvl2pPr marL="800100" indent="-342900">
              <a:buClr>
                <a:schemeClr val="accent1"/>
              </a:buClr>
              <a:buFont typeface="+mj-lt"/>
              <a:buAutoNum type="alphaLcPeriod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6865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75793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62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81910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4521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565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35871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23650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667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741175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74666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769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40981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40698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872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12803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18144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974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261715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55131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077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83637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490024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179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669916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31716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281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6F4AE77F-D9C4-4B62-A4B1-2328F7957488}" type="slidenum">
              <a:rPr/>
              <a:pPr/>
              <a:t>‹#›</a:t>
            </a:fld>
            <a:endParaRPr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8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563884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5387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65076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262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86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47412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73239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58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754993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906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6915" name="think-cell Slide" r:id="rId3" imgW="360" imgH="360" progId="">
              <p:embed/>
            </p:oleObj>
          </a:graphicData>
        </a:graphic>
      </p:graphicFrame>
      <p:pic>
        <p:nvPicPr>
          <p:cNvPr id="4" name="Picture 3" descr="IMS new logo_PNG format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715" y="2796182"/>
            <a:ext cx="4512570" cy="126563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93595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32302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Footer Placeholder 46"/>
          <p:cNvSpPr>
            <a:spLocks noGrp="1"/>
          </p:cNvSpPr>
          <p:nvPr>
            <p:ph type="ftr" sz="quarter" idx="10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47"/>
          <p:cNvSpPr>
            <a:spLocks noGrp="1"/>
          </p:cNvSpPr>
          <p:nvPr>
            <p:ph type="sldNum" sz="quarter" idx="11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fld id="{9CFBA3DB-4009-45F4-91D5-36BDED7B3301}" type="slidenum">
              <a:rPr lang="en-US" smtClean="0"/>
              <a:pPr fontAlgn="base"/>
              <a:t>‹#›</a:t>
            </a:fld>
            <a:endParaRPr lang="en-US" dirty="0"/>
          </a:p>
        </p:txBody>
      </p:sp>
      <p:sp>
        <p:nvSpPr>
          <p:cNvPr id="13" name="Date Placeholder 48"/>
          <p:cNvSpPr>
            <a:spLocks noGrp="1"/>
          </p:cNvSpPr>
          <p:nvPr>
            <p:ph type="dt" sz="quarter" idx="12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0564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57786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9393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793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21674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03168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65235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24024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99233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288255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23095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1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2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AD261C6C-D3B5-484D-B3F1-C2886FCF43F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5"/>
          <p:cNvSpPr>
            <a:spLocks noGrp="1"/>
          </p:cNvSpPr>
          <p:nvPr>
            <p:ph type="dt" sz="quarter" idx="13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25210069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36797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>
                <a:latin typeface="Calibri" pitchFamily="34" charset="0"/>
              </a:defRPr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8322" name="think-cell Slide" r:id="rId3" imgW="360" imgH="360" progId="">
              <p:embed/>
            </p:oleObj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24125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8137"/>
            <a:ext cx="39497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608137"/>
            <a:ext cx="41148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4559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31383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59111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-1"/>
            <a:ext cx="8221663" cy="836614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5" y="1600200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5480" y="1600200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12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15"/>
          <p:cNvSpPr>
            <a:spLocks noGrp="1"/>
          </p:cNvSpPr>
          <p:nvPr>
            <p:ph type="sldNum" sz="quarter" idx="13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fld id="{FD935981-053A-45A5-9585-74C0A21DE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16"/>
          <p:cNvSpPr>
            <a:spLocks noGrp="1"/>
          </p:cNvSpPr>
          <p:nvPr>
            <p:ph type="dt" sz="quarter" idx="14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7872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998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>
                <a:latin typeface="Calibri" pitchFamily="34" charset="0"/>
              </a:defRPr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7586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8137"/>
            <a:ext cx="39497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608137"/>
            <a:ext cx="41148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4559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31383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2629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-1"/>
            <a:ext cx="8221663" cy="836614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5" y="1600200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5480" y="1600200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12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15"/>
          <p:cNvSpPr>
            <a:spLocks noGrp="1"/>
          </p:cNvSpPr>
          <p:nvPr>
            <p:ph type="sldNum" sz="quarter" idx="13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fld id="{FD935981-053A-45A5-9585-74C0A21DE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16"/>
          <p:cNvSpPr>
            <a:spLocks noGrp="1"/>
          </p:cNvSpPr>
          <p:nvPr>
            <p:ph type="dt" sz="quarter" idx="14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7872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203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>
                <a:solidFill>
                  <a:srgbClr val="0E0733"/>
                </a:solidFill>
              </a:rPr>
              <a:pPr/>
              <a:t>‹#›</a:t>
            </a:fld>
            <a:endParaRPr dirty="0">
              <a:solidFill>
                <a:srgbClr val="0E0733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532618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>
                <a:latin typeface="Calibri" pitchFamily="34" charset="0"/>
              </a:defRPr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5755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8137"/>
            <a:ext cx="39497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608137"/>
            <a:ext cx="41148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4559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12116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31383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-1"/>
            <a:ext cx="8221663" cy="836614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5" y="1600200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5480" y="1600200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12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15"/>
          <p:cNvSpPr>
            <a:spLocks noGrp="1"/>
          </p:cNvSpPr>
          <p:nvPr>
            <p:ph type="sldNum" sz="quarter" idx="13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fld id="{FD935981-053A-45A5-9585-74C0A21DE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16"/>
          <p:cNvSpPr>
            <a:spLocks noGrp="1"/>
          </p:cNvSpPr>
          <p:nvPr>
            <p:ph type="dt" sz="quarter" idx="14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7872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08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dirty="0">
              <a:solidFill>
                <a:srgbClr val="00286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>
                <a:solidFill>
                  <a:srgbClr val="002868"/>
                </a:solidFill>
              </a:rPr>
              <a:t>IMS Health Confidential</a:t>
            </a:r>
            <a:endParaRPr dirty="0">
              <a:solidFill>
                <a:srgbClr val="002868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>
                <a:solidFill>
                  <a:srgbClr val="002868"/>
                </a:solidFill>
              </a:rPr>
              <a:pPr/>
              <a:t>‹#›</a:t>
            </a:fld>
            <a:endParaRPr dirty="0">
              <a:solidFill>
                <a:srgbClr val="002868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71926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5450" y="2886075"/>
            <a:ext cx="6181725" cy="397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>
            <a:off x="0" y="289083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6" descr="IMSHlogo_RGB_300px_TM_IA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7975" y="366713"/>
            <a:ext cx="20320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/>
          <a:lstStyle>
            <a:lvl1pPr>
              <a:defRPr cap="none" baseline="0"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60375" y="6218238"/>
            <a:ext cx="6629400" cy="395287"/>
          </a:xfrm>
        </p:spPr>
        <p:txBody>
          <a:bodyPr/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IMSHlogo_RGB_300px_TM_I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7975" y="366713"/>
            <a:ext cx="20320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60375" y="6218238"/>
            <a:ext cx="6629400" cy="395287"/>
          </a:xfrm>
        </p:spPr>
        <p:txBody>
          <a:bodyPr/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642AD97-D51A-4130-8E72-87783D84569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2E923BD-9015-40FE-A8B0-66003FFA8D6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98091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CEF5035E-0E01-4E87-9E18-FD6DC5E0198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2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936D580-2B5A-43E9-813A-286256EC2D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8137"/>
            <a:ext cx="39497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608137"/>
            <a:ext cx="41148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4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FD15BBD-52CC-47E1-A7E7-83DD4BE5D49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7A3E957-D050-4EF7-93E8-E891FD50AEF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3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38E0656E-B5C7-44C6-8449-F1D56B322F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5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01B98EF0-7295-4183-8ACE-682E0A2BD7E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2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3E1EB30-83C0-4801-9BC1-A28623F452F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F30C9C8-B902-48F4-9E8B-4568106673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196A928-0C5E-486C-AFEC-9593ED3211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5450" y="2886075"/>
            <a:ext cx="6181725" cy="397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>
            <a:off x="0" y="289083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6" descr="IMSHlogo_RGB_300px_TM_IA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7975" y="366713"/>
            <a:ext cx="20320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60375" y="6218238"/>
            <a:ext cx="6629400" cy="395287"/>
          </a:xfrm>
        </p:spPr>
        <p:txBody>
          <a:bodyPr/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6848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D1ED040-FCCA-4CB4-9B32-848DC436A48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277DE29-88EB-4B45-94F8-6CD57AF1DA8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-1"/>
            <a:ext cx="8221663" cy="836614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5" y="1600200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5480" y="1600200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 bwMode="auto"/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n-US" smtClean="0"/>
              <a:t>IMS Health Confidential</a:t>
            </a:r>
            <a:endParaRPr lang="en-US"/>
          </a:p>
        </p:txBody>
      </p:sp>
      <p:sp>
        <p:nvSpPr>
          <p:cNvPr id="7" name="Slide Number Placeholder 15"/>
          <p:cNvSpPr>
            <a:spLocks noGrp="1"/>
          </p:cNvSpPr>
          <p:nvPr>
            <p:ph type="sldNum" sz="quarter" idx="13"/>
          </p:nvPr>
        </p:nvSpPr>
        <p:spPr bwMode="auto"/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pPr>
              <a:defRPr/>
            </a:pPr>
            <a:fld id="{574D64ED-36F9-41D4-B3CA-8DD36F0523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ate Placeholder 16"/>
          <p:cNvSpPr>
            <a:spLocks noGrp="1"/>
          </p:cNvSpPr>
          <p:nvPr>
            <p:ph type="dt" sz="quarter" idx="14"/>
          </p:nvPr>
        </p:nvSpPr>
        <p:spPr bwMode="auto">
          <a:xfrm>
            <a:off x="717550" y="6492875"/>
            <a:ext cx="6629400" cy="136525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7EE3899-658C-4797-B25F-7C86CFE3D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10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7E83A08-8944-4491-B32B-9014028F94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MS Health Confidentia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9053F3C-492F-47F4-9C89-5CE7AF07EE5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>
                <a:latin typeface="Calibri" pitchFamily="34" charset="0"/>
              </a:defRPr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96930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8137"/>
            <a:ext cx="39497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608137"/>
            <a:ext cx="4114800" cy="566737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4559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898951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31383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5" y="-1"/>
            <a:ext cx="8221663" cy="836614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4025" y="1600200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5480" y="1600200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12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15"/>
          <p:cNvSpPr>
            <a:spLocks noGrp="1"/>
          </p:cNvSpPr>
          <p:nvPr>
            <p:ph type="sldNum" sz="quarter" idx="13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fld id="{FD935981-053A-45A5-9585-74C0A21DE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16"/>
          <p:cNvSpPr>
            <a:spLocks noGrp="1"/>
          </p:cNvSpPr>
          <p:nvPr>
            <p:ph type="dt" sz="quarter" idx="14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Calibri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7872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613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dirty="0">
              <a:solidFill>
                <a:srgbClr val="002868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>
                <a:solidFill>
                  <a:srgbClr val="002868"/>
                </a:solidFill>
              </a:rPr>
              <a:t>IMS Health Confidential</a:t>
            </a:r>
            <a:endParaRPr dirty="0">
              <a:solidFill>
                <a:srgbClr val="002868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>
                <a:solidFill>
                  <a:srgbClr val="002868"/>
                </a:solidFill>
              </a:rPr>
              <a:pPr/>
              <a:t>‹#›</a:t>
            </a:fld>
            <a:endParaRPr dirty="0">
              <a:solidFill>
                <a:srgbClr val="002868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32285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0227" name="think-cell Slide" r:id="rId3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11" name="Picture 10" descr="IMSHlogo_RGB_300px_TM_IA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17606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3051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1251" name="think-cell Slide" r:id="rId3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7" name="Picture 6" descr="IMSHlogo_RGB_300px_TM_IA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7725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8727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227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98011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1358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0547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329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262411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51364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2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2000"/>
            </a:lvl1pPr>
            <a:lvl2pPr marL="800100" indent="-342900">
              <a:buClr>
                <a:schemeClr val="accent1"/>
              </a:buClr>
              <a:buFont typeface="+mj-lt"/>
              <a:buAutoNum type="alphaLcPeriod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6865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75793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534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81910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4521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637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35871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23650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739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741175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74666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841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40981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40698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94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12803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18144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046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261715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55131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14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83637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490024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251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669916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34536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5387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56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65076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262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558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47412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73239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66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754993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906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7635" name="think-cell Slide" r:id="rId3" imgW="360" imgH="360" progId="">
              <p:embed/>
            </p:oleObj>
          </a:graphicData>
        </a:graphic>
      </p:graphicFrame>
      <p:pic>
        <p:nvPicPr>
          <p:cNvPr id="4" name="Picture 3" descr="IMS new logo_PNG format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715" y="2796182"/>
            <a:ext cx="4512570" cy="126563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93595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32302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Footer Placeholder 46"/>
          <p:cNvSpPr>
            <a:spLocks noGrp="1"/>
          </p:cNvSpPr>
          <p:nvPr>
            <p:ph type="ftr" sz="quarter" idx="10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47"/>
          <p:cNvSpPr>
            <a:spLocks noGrp="1"/>
          </p:cNvSpPr>
          <p:nvPr>
            <p:ph type="sldNum" sz="quarter" idx="11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fld id="{9CFBA3DB-4009-45F4-91D5-36BDED7B3301}" type="slidenum">
              <a:rPr lang="en-US" smtClean="0"/>
              <a:pPr fontAlgn="base"/>
              <a:t>‹#›</a:t>
            </a:fld>
            <a:endParaRPr lang="en-US" dirty="0"/>
          </a:p>
        </p:txBody>
      </p:sp>
      <p:sp>
        <p:nvSpPr>
          <p:cNvPr id="13" name="Date Placeholder 48"/>
          <p:cNvSpPr>
            <a:spLocks noGrp="1"/>
          </p:cNvSpPr>
          <p:nvPr>
            <p:ph type="dt" sz="quarter" idx="12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0564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57786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31763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9393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865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21674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03168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48961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65235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24024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99233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288255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23095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1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2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AD261C6C-D3B5-484D-B3F1-C2886FCF43F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5"/>
          <p:cNvSpPr>
            <a:spLocks noGrp="1"/>
          </p:cNvSpPr>
          <p:nvPr>
            <p:ph type="dt" sz="quarter" idx="13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25210069"/>
      </p:ext>
    </p:extLst>
  </p:cSld>
  <p:clrMapOvr>
    <a:masterClrMapping/>
  </p:clrMapOvr>
  <p:transition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36797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129760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8613"/>
            <a:ext cx="39497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98613"/>
            <a:ext cx="41148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19488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32285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1971" name="think-cell Slide" r:id="rId3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11" name="Picture 10" descr="IMSHlogo_RGB_300px_TM_IA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17606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3051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2995" name="think-cell Slide" r:id="rId3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7" name="Picture 6" descr="IMSHlogo_RGB_300px_TM_IA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7725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8727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401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98011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0547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50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262411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51364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606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2000"/>
            </a:lvl1pPr>
            <a:lvl2pPr marL="800100" indent="-342900">
              <a:buClr>
                <a:schemeClr val="accent1"/>
              </a:buClr>
              <a:buFont typeface="+mj-lt"/>
              <a:buAutoNum type="alphaLcPeriod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6865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75793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70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81910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4521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811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35871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23650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913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741175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974666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016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40981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651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40698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118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12803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18144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2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261715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55131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323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83637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490024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425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669916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5387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630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65076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97262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733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47412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673239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835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754993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7906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9379" name="think-cell Slide" r:id="rId3" imgW="360" imgH="360" progId="">
              <p:embed/>
            </p:oleObj>
          </a:graphicData>
        </a:graphic>
      </p:graphicFrame>
      <p:pic>
        <p:nvPicPr>
          <p:cNvPr id="4" name="Picture 3" descr="IMS new logo_PNG format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715" y="2796182"/>
            <a:ext cx="4512570" cy="126563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93595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32302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Footer Placeholder 46"/>
          <p:cNvSpPr>
            <a:spLocks noGrp="1"/>
          </p:cNvSpPr>
          <p:nvPr>
            <p:ph type="ftr" sz="quarter" idx="10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47"/>
          <p:cNvSpPr>
            <a:spLocks noGrp="1"/>
          </p:cNvSpPr>
          <p:nvPr>
            <p:ph type="sldNum" sz="quarter" idx="11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fld id="{9CFBA3DB-4009-45F4-91D5-36BDED7B3301}" type="slidenum">
              <a:rPr lang="en-US" smtClean="0"/>
              <a:pPr fontAlgn="base"/>
              <a:t>‹#›</a:t>
            </a:fld>
            <a:endParaRPr lang="en-US" dirty="0"/>
          </a:p>
        </p:txBody>
      </p:sp>
      <p:sp>
        <p:nvSpPr>
          <p:cNvPr id="13" name="Date Placeholder 48"/>
          <p:cNvSpPr>
            <a:spLocks noGrp="1"/>
          </p:cNvSpPr>
          <p:nvPr>
            <p:ph type="dt" sz="quarter" idx="12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base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0564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59111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57786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31763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9393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040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21674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03168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715114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65235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24024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99233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288255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23095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7586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1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14"/>
          <p:cNvSpPr>
            <a:spLocks noGrp="1"/>
          </p:cNvSpPr>
          <p:nvPr>
            <p:ph type="sldNum" sz="quarter" idx="12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fld id="{AD261C6C-D3B5-484D-B3F1-C2886FCF43F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5"/>
          <p:cNvSpPr>
            <a:spLocks noGrp="1"/>
          </p:cNvSpPr>
          <p:nvPr>
            <p:ph type="dt" sz="quarter" idx="13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25210069"/>
      </p:ext>
    </p:extLst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36797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7571" name="think-cell Slide" r:id="rId3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8595" name="think-cell Slide" r:id="rId3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715000"/>
            <a:ext cx="9144000" cy="114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4713" y="393700"/>
            <a:ext cx="14922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961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06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166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26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371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473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2629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576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678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78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8835" name="think-cell Slide" r:id="rId3" imgW="360" imgH="360" progId="">
              <p:embed/>
            </p:oleObj>
          </a:graphicData>
        </a:graphic>
      </p:graphicFrame>
      <p:pic>
        <p:nvPicPr>
          <p:cNvPr id="5" name="Picture 5" descr="ims_PPTHallmk_RGB_PPT_Ligh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9144000" cy="3429000"/>
          </a:xfrm>
          <a:solidFill>
            <a:schemeClr val="accent1"/>
          </a:solidFill>
        </p:spPr>
        <p:txBody>
          <a:bodyPr bIns="685800" rtlCol="0" anchor="ctr" anchorCtr="1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37360"/>
            <a:ext cx="7452360" cy="1051560"/>
          </a:xfrm>
        </p:spPr>
        <p:txBody>
          <a:bodyPr anchor="b"/>
          <a:lstStyle>
            <a:lvl1pPr algn="l">
              <a:defRPr lang="en-US" sz="2400" smtClean="0">
                <a:solidFill>
                  <a:schemeClr val="tx2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971800"/>
            <a:ext cx="7452360" cy="32004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None/>
              <a:defRPr lang="en-US" sz="1800" dirty="0" smtClean="0">
                <a:solidFill>
                  <a:srgbClr val="2E8D9E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5755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11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02868"/>
                </a:solidFill>
                <a:effectLst/>
                <a:latin typeface="Verdana"/>
              </a:defRPr>
            </a:lvl1pPr>
          </a:lstStyle>
          <a:p>
            <a:fld id="{FD2CE176-C7C5-42C4-916B-A90017B8846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Date Placeholder 12"/>
          <p:cNvSpPr>
            <a:spLocks noGrp="1"/>
          </p:cNvSpPr>
          <p:nvPr>
            <p:ph type="dt" sz="quarter" idx="12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02868"/>
                </a:solidFill>
                <a:effectLst/>
                <a:latin typeface="Verdana"/>
              </a:defRPr>
            </a:lvl1pPr>
          </a:lstStyle>
          <a:p>
            <a:endParaRPr lang="en-GB" dirty="0"/>
          </a:p>
        </p:txBody>
      </p:sp>
    </p:spTree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 bwMode="auto">
          <a:xfrm>
            <a:off x="481330" y="6492875"/>
            <a:ext cx="2286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02868"/>
                </a:solidFill>
                <a:effectLst/>
                <a:latin typeface="Verdana"/>
              </a:defRPr>
            </a:lvl1pPr>
          </a:lstStyle>
          <a:p>
            <a:fld id="{AB802DFB-354C-4441-8E70-23F80448D4B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quarter" idx="12"/>
          </p:nvPr>
        </p:nvSpPr>
        <p:spPr bwMode="auto">
          <a:xfrm>
            <a:off x="716929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02868"/>
                </a:solidFill>
                <a:effectLst/>
                <a:latin typeface="Verdana"/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  <p:transition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59111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7586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2629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12116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5755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12116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98091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6848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96930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898951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1358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34536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48961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129760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98091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19488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651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59111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7586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2629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45755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12116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98091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6848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96930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6848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898951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1358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34536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48961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129760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19488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651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31377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>
            <a:normAutofit/>
          </a:bodyPr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2000" cap="none" baseline="0">
                <a:solidFill>
                  <a:schemeClr val="bg2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060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96930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 sz="2000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bg2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bg2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bg2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bg2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E0733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>
                <a:solidFill>
                  <a:srgbClr val="0E0733"/>
                </a:solidFill>
              </a:rPr>
              <a:t>IMS Health Confidential</a:t>
            </a:r>
            <a:endParaRPr lang="en-GB" dirty="0">
              <a:solidFill>
                <a:srgbClr val="0E0733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BC549CF-B437-44E1-9F45-BC18BDAE5EBC}" type="slidenum">
              <a:rPr lang="en-GB">
                <a:solidFill>
                  <a:srgbClr val="0E0733"/>
                </a:solidFill>
              </a:rPr>
              <a:pPr/>
              <a:t>‹#›</a:t>
            </a:fld>
            <a:endParaRPr lang="en-GB" dirty="0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898951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11" name="Picture 10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7" name="Picture 6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2" y="1598613"/>
            <a:ext cx="8226425" cy="4387850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8613"/>
            <a:ext cx="39497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98613"/>
            <a:ext cx="41148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1358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2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5612" y="1598611"/>
            <a:ext cx="39465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31716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049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Slide Number Placeholder 12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fld id="{6F4AE77F-D9C4-4B62-A4B1-2328F7957488}" type="slidenum">
              <a:rPr/>
              <a:pPr/>
              <a:t>‹#›</a:t>
            </a:fld>
            <a:endParaRPr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8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563884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08270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523" name="think-cell Slide" r:id="rId3" imgW="360" imgH="360" progId="">
              <p:embed/>
            </p:oleObj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57200" y="1599639"/>
            <a:ext cx="8229600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spcBef>
                <a:spcPts val="600"/>
              </a:spcBef>
              <a:defRPr/>
            </a:lvl1pPr>
            <a:lvl2pPr marL="625475" indent="-277813">
              <a:spcBef>
                <a:spcPts val="600"/>
              </a:spcBef>
              <a:defRPr/>
            </a:lvl2pPr>
            <a:lvl3pPr marL="917575" indent="-228600">
              <a:spcBef>
                <a:spcPts val="600"/>
              </a:spcBef>
              <a:defRPr/>
            </a:lvl3pPr>
            <a:lvl4pPr marL="1250950" indent="-238125">
              <a:spcBef>
                <a:spcPts val="600"/>
              </a:spcBef>
              <a:defRPr/>
            </a:lvl4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88229"/>
            <a:ext cx="8229600" cy="354560"/>
          </a:xfrm>
        </p:spPr>
        <p:txBody>
          <a:bodyPr vert="horz" wrap="square" lIns="0" tIns="0" rIns="0" bIns="0" rtlCol="0">
            <a:normAutofit/>
          </a:bodyPr>
          <a:lstStyle>
            <a:lvl1pPr marL="0" indent="0">
              <a:buNone/>
              <a:defRPr lang="en-GB" sz="2000" b="0" i="0" kern="1200" dirty="0">
                <a:solidFill>
                  <a:srgbClr val="23A3FF"/>
                </a:solidFill>
                <a:latin typeface="Arial"/>
                <a:ea typeface="+mn-ea"/>
                <a:cs typeface="Arial"/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lvl="0" indent="0" algn="l" defTabSz="410291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</a:pPr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981075"/>
            <a:ext cx="8226425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34536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948961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UPPERCASE Title/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129760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19488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4651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31377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11" name="Picture 10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7" name="Picture 6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8195" name="think-cell Slide" r:id="rId3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219" name="think-cell Slide" r:id="rId3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715000"/>
            <a:ext cx="9144000" cy="114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4713" y="393700"/>
            <a:ext cx="14922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126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22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331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433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536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638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74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843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483" name="think-cell Slide" r:id="rId3" imgW="360" imgH="360" progId="">
              <p:embed/>
            </p:oleObj>
          </a:graphicData>
        </a:graphic>
      </p:graphicFrame>
      <p:pic>
        <p:nvPicPr>
          <p:cNvPr id="5" name="Picture 5" descr="ims_PPTHallmk_RGB_PPT_Ligh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9144000" cy="3429000"/>
          </a:xfrm>
          <a:solidFill>
            <a:schemeClr val="accent1"/>
          </a:solidFill>
        </p:spPr>
        <p:txBody>
          <a:bodyPr bIns="685800" rtlCol="0" anchor="ctr" anchorCtr="1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37360"/>
            <a:ext cx="7452360" cy="1051560"/>
          </a:xfrm>
        </p:spPr>
        <p:txBody>
          <a:bodyPr anchor="b"/>
          <a:lstStyle>
            <a:lvl1pPr algn="l">
              <a:defRPr lang="en-US" sz="2400" smtClean="0">
                <a:solidFill>
                  <a:schemeClr val="tx2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971800"/>
            <a:ext cx="7452360" cy="32004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None/>
              <a:defRPr lang="en-US" sz="1800" dirty="0" smtClean="0">
                <a:solidFill>
                  <a:srgbClr val="2E8D9E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8613"/>
            <a:ext cx="39497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39497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98613"/>
            <a:ext cx="4114800" cy="576261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6"/>
            <a:ext cx="4114800" cy="3833812"/>
          </a:xfr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2" y="1598612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>
            <a:normAutofit/>
          </a:bodyPr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2000" cap="none" baseline="0">
                <a:solidFill>
                  <a:schemeClr val="bg2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060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 sz="2000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bg2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bg2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bg2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chemeClr val="bg2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5612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598612"/>
            <a:ext cx="3946525" cy="4410076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dirty="0">
              <a:solidFill>
                <a:srgbClr val="0E0733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>
                <a:solidFill>
                  <a:srgbClr val="0E0733"/>
                </a:solidFill>
              </a:rPr>
              <a:t>IMS Health Confidential</a:t>
            </a:r>
            <a:endParaRPr lang="en-GB" dirty="0">
              <a:solidFill>
                <a:srgbClr val="0E0733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BC549CF-B437-44E1-9F45-BC18BDAE5EBC}" type="slidenum">
              <a:rPr lang="en-GB">
                <a:solidFill>
                  <a:srgbClr val="0E0733"/>
                </a:solidFill>
              </a:rPr>
              <a:pPr/>
              <a:t>‹#›</a:t>
            </a:fld>
            <a:endParaRPr lang="en-GB" dirty="0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dirty="0"/>
              <a:t>Name, Title, Departmen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2" name="Picture 1" descr="IMSHlogo_RGB_300px_TM_IA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/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36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198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image" Target="../media/image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8.xml"/><Relationship Id="rId18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18.xml"/><Relationship Id="rId21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27.xml"/><Relationship Id="rId1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17.xml"/><Relationship Id="rId1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30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25.xml"/><Relationship Id="rId19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4" Type="http://schemas.openxmlformats.org/officeDocument/2006/relationships/slideLayout" Target="../slideLayouts/slideLayout229.xml"/><Relationship Id="rId2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26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257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5" Type="http://schemas.openxmlformats.org/officeDocument/2006/relationships/slideLayout" Target="../slideLayouts/slideLayout261.xml"/><Relationship Id="rId33" Type="http://schemas.openxmlformats.org/officeDocument/2006/relationships/vmlDrawing" Target="../drawings/vmlDrawing40.vml"/><Relationship Id="rId2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56.xml"/><Relationship Id="rId29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24" Type="http://schemas.openxmlformats.org/officeDocument/2006/relationships/slideLayout" Target="../slideLayouts/slideLayout260.xml"/><Relationship Id="rId32" Type="http://schemas.openxmlformats.org/officeDocument/2006/relationships/theme" Target="../theme/theme15.xml"/><Relationship Id="rId5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251.xml"/><Relationship Id="rId23" Type="http://schemas.openxmlformats.org/officeDocument/2006/relationships/slideLayout" Target="../slideLayouts/slideLayout259.xml"/><Relationship Id="rId28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55.xml"/><Relationship Id="rId31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Relationship Id="rId22" Type="http://schemas.openxmlformats.org/officeDocument/2006/relationships/slideLayout" Target="../slideLayouts/slideLayout258.xml"/><Relationship Id="rId27" Type="http://schemas.openxmlformats.org/officeDocument/2006/relationships/slideLayout" Target="../slideLayouts/slideLayout263.xml"/><Relationship Id="rId30" Type="http://schemas.openxmlformats.org/officeDocument/2006/relationships/slideLayout" Target="../slideLayouts/slideLayout266.xml"/><Relationship Id="rId35" Type="http://schemas.openxmlformats.org/officeDocument/2006/relationships/image" Target="../media/image11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slideLayout" Target="../slideLayouts/slideLayout280.xml"/><Relationship Id="rId3" Type="http://schemas.openxmlformats.org/officeDocument/2006/relationships/slideLayout" Target="../slideLayouts/slideLayout270.xml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2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5" Type="http://schemas.openxmlformats.org/officeDocument/2006/relationships/slideLayout" Target="../slideLayouts/slideLayout27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slideLayout" Target="../slideLayouts/slideLayout293.xml"/><Relationship Id="rId18" Type="http://schemas.openxmlformats.org/officeDocument/2006/relationships/slideLayout" Target="../slideLayouts/slideLayout298.xml"/><Relationship Id="rId26" Type="http://schemas.openxmlformats.org/officeDocument/2006/relationships/slideLayout" Target="../slideLayouts/slideLayout306.xml"/><Relationship Id="rId3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301.xml"/><Relationship Id="rId34" Type="http://schemas.openxmlformats.org/officeDocument/2006/relationships/oleObject" Target="../embeddings/oleObject59.bin"/><Relationship Id="rId7" Type="http://schemas.openxmlformats.org/officeDocument/2006/relationships/slideLayout" Target="../slideLayouts/slideLayout287.xml"/><Relationship Id="rId12" Type="http://schemas.openxmlformats.org/officeDocument/2006/relationships/slideLayout" Target="../slideLayouts/slideLayout292.xml"/><Relationship Id="rId17" Type="http://schemas.openxmlformats.org/officeDocument/2006/relationships/slideLayout" Target="../slideLayouts/slideLayout297.xml"/><Relationship Id="rId25" Type="http://schemas.openxmlformats.org/officeDocument/2006/relationships/slideLayout" Target="../slideLayouts/slideLayout305.xml"/><Relationship Id="rId33" Type="http://schemas.openxmlformats.org/officeDocument/2006/relationships/vmlDrawing" Target="../drawings/vmlDrawing59.vml"/><Relationship Id="rId2" Type="http://schemas.openxmlformats.org/officeDocument/2006/relationships/slideLayout" Target="../slideLayouts/slideLayout282.xml"/><Relationship Id="rId16" Type="http://schemas.openxmlformats.org/officeDocument/2006/relationships/slideLayout" Target="../slideLayouts/slideLayout296.xml"/><Relationship Id="rId20" Type="http://schemas.openxmlformats.org/officeDocument/2006/relationships/slideLayout" Target="../slideLayouts/slideLayout300.xml"/><Relationship Id="rId29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24" Type="http://schemas.openxmlformats.org/officeDocument/2006/relationships/slideLayout" Target="../slideLayouts/slideLayout304.xml"/><Relationship Id="rId32" Type="http://schemas.openxmlformats.org/officeDocument/2006/relationships/theme" Target="../theme/theme17.xml"/><Relationship Id="rId5" Type="http://schemas.openxmlformats.org/officeDocument/2006/relationships/slideLayout" Target="../slideLayouts/slideLayout285.xml"/><Relationship Id="rId15" Type="http://schemas.openxmlformats.org/officeDocument/2006/relationships/slideLayout" Target="../slideLayouts/slideLayout295.xml"/><Relationship Id="rId23" Type="http://schemas.openxmlformats.org/officeDocument/2006/relationships/slideLayout" Target="../slideLayouts/slideLayout303.xml"/><Relationship Id="rId28" Type="http://schemas.openxmlformats.org/officeDocument/2006/relationships/slideLayout" Target="../slideLayouts/slideLayout308.xml"/><Relationship Id="rId10" Type="http://schemas.openxmlformats.org/officeDocument/2006/relationships/slideLayout" Target="../slideLayouts/slideLayout290.xml"/><Relationship Id="rId19" Type="http://schemas.openxmlformats.org/officeDocument/2006/relationships/slideLayout" Target="../slideLayouts/slideLayout299.xml"/><Relationship Id="rId31" Type="http://schemas.openxmlformats.org/officeDocument/2006/relationships/slideLayout" Target="../slideLayouts/slideLayout311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Relationship Id="rId14" Type="http://schemas.openxmlformats.org/officeDocument/2006/relationships/slideLayout" Target="../slideLayouts/slideLayout294.xml"/><Relationship Id="rId22" Type="http://schemas.openxmlformats.org/officeDocument/2006/relationships/slideLayout" Target="../slideLayouts/slideLayout302.xml"/><Relationship Id="rId27" Type="http://schemas.openxmlformats.org/officeDocument/2006/relationships/slideLayout" Target="../slideLayouts/slideLayout307.xml"/><Relationship Id="rId30" Type="http://schemas.openxmlformats.org/officeDocument/2006/relationships/slideLayout" Target="../slideLayouts/slideLayout310.xml"/><Relationship Id="rId35" Type="http://schemas.openxmlformats.org/officeDocument/2006/relationships/image" Target="../media/image1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13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5" Type="http://schemas.openxmlformats.org/officeDocument/2006/relationships/oleObject" Target="../embeddings/oleObject78.bin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vmlDrawing" Target="../drawings/vmlDrawing78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slideLayout" Target="../slideLayouts/slideLayout336.xml"/><Relationship Id="rId3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28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33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38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5" Type="http://schemas.openxmlformats.org/officeDocument/2006/relationships/slideLayout" Target="../slideLayouts/slideLayout351.xml"/><Relationship Id="rId10" Type="http://schemas.openxmlformats.org/officeDocument/2006/relationships/slideLayout" Target="../slideLayouts/slideLayout34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Relationship Id="rId14" Type="http://schemas.openxmlformats.org/officeDocument/2006/relationships/slideLayout" Target="../slideLayouts/slideLayout35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13" Type="http://schemas.openxmlformats.org/officeDocument/2006/relationships/slideLayout" Target="../slideLayouts/slideLayout364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12" Type="http://schemas.openxmlformats.org/officeDocument/2006/relationships/slideLayout" Target="../slideLayouts/slideLayout363.xml"/><Relationship Id="rId17" Type="http://schemas.openxmlformats.org/officeDocument/2006/relationships/theme" Target="../theme/theme21.xml"/><Relationship Id="rId2" Type="http://schemas.openxmlformats.org/officeDocument/2006/relationships/slideLayout" Target="../slideLayouts/slideLayout353.xml"/><Relationship Id="rId16" Type="http://schemas.openxmlformats.org/officeDocument/2006/relationships/slideLayout" Target="../slideLayouts/slideLayout367.xml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56.xml"/><Relationship Id="rId15" Type="http://schemas.openxmlformats.org/officeDocument/2006/relationships/slideLayout" Target="../slideLayouts/slideLayout366.xml"/><Relationship Id="rId10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Relationship Id="rId14" Type="http://schemas.openxmlformats.org/officeDocument/2006/relationships/slideLayout" Target="../slideLayouts/slideLayout36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slideLayout" Target="../slideLayouts/slideLayout379.xml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77.xml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Relationship Id="rId14" Type="http://schemas.openxmlformats.org/officeDocument/2006/relationships/image" Target="../media/image7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slideLayout" Target="../slideLayouts/slideLayout392.xml"/><Relationship Id="rId3" Type="http://schemas.openxmlformats.org/officeDocument/2006/relationships/slideLayout" Target="../slideLayouts/slideLayout382.xml"/><Relationship Id="rId7" Type="http://schemas.openxmlformats.org/officeDocument/2006/relationships/slideLayout" Target="../slideLayouts/slideLayout386.xml"/><Relationship Id="rId12" Type="http://schemas.openxmlformats.org/officeDocument/2006/relationships/slideLayout" Target="../slideLayouts/slideLayout39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81.xml"/><Relationship Id="rId16" Type="http://schemas.openxmlformats.org/officeDocument/2006/relationships/theme" Target="../theme/theme23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slideLayout" Target="../slideLayouts/slideLayout390.xml"/><Relationship Id="rId5" Type="http://schemas.openxmlformats.org/officeDocument/2006/relationships/slideLayout" Target="../slideLayouts/slideLayout384.xml"/><Relationship Id="rId15" Type="http://schemas.openxmlformats.org/officeDocument/2006/relationships/slideLayout" Target="../slideLayouts/slideLayout394.xml"/><Relationship Id="rId10" Type="http://schemas.openxmlformats.org/officeDocument/2006/relationships/slideLayout" Target="../slideLayouts/slideLayout389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slideLayout" Target="../slideLayouts/slideLayout39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vmlDrawing" Target="../drawings/vmlDrawing2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7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vmlDrawing" Target="../drawings/vmlDrawing15.v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theme" Target="../theme/theme9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32.xml"/><Relationship Id="rId35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817" r:id="rId4"/>
    <p:sldLayoutId id="2147483818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814" r:id="rId12"/>
    <p:sldLayoutId id="2147483816" r:id="rId13"/>
    <p:sldLayoutId id="2147484240" r:id="rId1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  <p:sldLayoutId id="2147483993" r:id="rId17"/>
    <p:sldLayoutId id="2147483994" r:id="rId18"/>
    <p:sldLayoutId id="2147483995" r:id="rId19"/>
    <p:sldLayoutId id="2147483996" r:id="rId20"/>
    <p:sldLayoutId id="2147483997" r:id="rId2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2788" y="6492875"/>
            <a:ext cx="662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013" y="6356350"/>
            <a:ext cx="6858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013" y="64928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372AF11D-A49E-4B32-ABB1-021FB435103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900113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288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1" name="Picture 17"/>
          <p:cNvPicPr>
            <a:picLocks noChangeAspect="1"/>
          </p:cNvPicPr>
          <p:nvPr/>
        </p:nvPicPr>
        <p:blipFill>
          <a:blip r:embed="rId22" cstate="print"/>
          <a:srcRect b="27988"/>
          <a:stretch>
            <a:fillRect/>
          </a:stretch>
        </p:blipFill>
        <p:spPr bwMode="auto">
          <a:xfrm>
            <a:off x="7391400" y="6367463"/>
            <a:ext cx="1298575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  <p:sldLayoutId id="2147484057" r:id="rId16"/>
    <p:sldLayoutId id="2147484058" r:id="rId17"/>
    <p:sldLayoutId id="2147484059" r:id="rId18"/>
    <p:sldLayoutId id="2147484060" r:id="rId19"/>
    <p:sldLayoutId id="2147484061" r:id="rId20"/>
    <p:sldLayoutId id="2147484062" r:id="rId2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72702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9203" name="think-cell Slide" r:id="rId34" imgW="360" imgH="36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2905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8" r:id="rId14"/>
    <p:sldLayoutId id="2147484079" r:id="rId15"/>
    <p:sldLayoutId id="2147484080" r:id="rId16"/>
    <p:sldLayoutId id="2147484081" r:id="rId17"/>
    <p:sldLayoutId id="2147484082" r:id="rId18"/>
    <p:sldLayoutId id="2147484083" r:id="rId19"/>
    <p:sldLayoutId id="2147484084" r:id="rId20"/>
    <p:sldLayoutId id="2147484085" r:id="rId21"/>
    <p:sldLayoutId id="2147484086" r:id="rId22"/>
    <p:sldLayoutId id="2147484087" r:id="rId23"/>
    <p:sldLayoutId id="2147484088" r:id="rId24"/>
    <p:sldLayoutId id="2147484089" r:id="rId25"/>
    <p:sldLayoutId id="2147484090" r:id="rId26"/>
    <p:sldLayoutId id="2147484091" r:id="rId27"/>
    <p:sldLayoutId id="2147484092" r:id="rId28"/>
    <p:sldLayoutId id="2147484093" r:id="rId29"/>
    <p:sldLayoutId id="2147484094" r:id="rId30"/>
    <p:sldLayoutId id="2147484095" r:id="rId3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  <p:sldLayoutId id="2147484108" r:id="rId11"/>
    <p:sldLayoutId id="2147484109" r:id="rId12"/>
    <p:sldLayoutId id="2147484110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72702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947" name="think-cell Slide" r:id="rId34" imgW="360" imgH="36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2905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3" r:id="rId1"/>
    <p:sldLayoutId id="2147484114" r:id="rId2"/>
    <p:sldLayoutId id="2147484115" r:id="rId3"/>
    <p:sldLayoutId id="2147484116" r:id="rId4"/>
    <p:sldLayoutId id="2147484117" r:id="rId5"/>
    <p:sldLayoutId id="2147484118" r:id="rId6"/>
    <p:sldLayoutId id="2147484119" r:id="rId7"/>
    <p:sldLayoutId id="2147484120" r:id="rId8"/>
    <p:sldLayoutId id="2147484121" r:id="rId9"/>
    <p:sldLayoutId id="2147484122" r:id="rId10"/>
    <p:sldLayoutId id="2147484123" r:id="rId11"/>
    <p:sldLayoutId id="2147484124" r:id="rId12"/>
    <p:sldLayoutId id="2147484125" r:id="rId13"/>
    <p:sldLayoutId id="2147484127" r:id="rId14"/>
    <p:sldLayoutId id="2147484128" r:id="rId15"/>
    <p:sldLayoutId id="2147484129" r:id="rId16"/>
    <p:sldLayoutId id="2147484130" r:id="rId17"/>
    <p:sldLayoutId id="2147484131" r:id="rId18"/>
    <p:sldLayoutId id="2147484132" r:id="rId19"/>
    <p:sldLayoutId id="2147484133" r:id="rId20"/>
    <p:sldLayoutId id="2147484134" r:id="rId21"/>
    <p:sldLayoutId id="2147484135" r:id="rId22"/>
    <p:sldLayoutId id="2147484136" r:id="rId23"/>
    <p:sldLayoutId id="2147484137" r:id="rId24"/>
    <p:sldLayoutId id="2147484138" r:id="rId25"/>
    <p:sldLayoutId id="2147484139" r:id="rId26"/>
    <p:sldLayoutId id="2147484140" r:id="rId27"/>
    <p:sldLayoutId id="2147484141" r:id="rId28"/>
    <p:sldLayoutId id="2147484142" r:id="rId29"/>
    <p:sldLayoutId id="2147484143" r:id="rId30"/>
    <p:sldLayoutId id="2147484144" r:id="rId3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6547" name="think-cell Slide" r:id="rId15" imgW="360" imgH="36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78CA1E6-1B09-488D-A1FF-E8A47C315D2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99714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99714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  <p:sldLayoutId id="2147484187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99714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  <p:sldLayoutId id="2147484200" r:id="rId12"/>
    <p:sldLayoutId id="2147484201" r:id="rId13"/>
    <p:sldLayoutId id="2147484202" r:id="rId14"/>
    <p:sldLayoutId id="2147484203" r:id="rId15"/>
    <p:sldLayoutId id="2147484204" r:id="rId16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  <p:sp>
        <p:nvSpPr>
          <p:cNvPr id="13" name="Footer Placeholder 42"/>
          <p:cNvSpPr txBox="1">
            <a:spLocks/>
          </p:cNvSpPr>
          <p:nvPr/>
        </p:nvSpPr>
        <p:spPr>
          <a:xfrm>
            <a:off x="3810000" y="6500495"/>
            <a:ext cx="1524000" cy="273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0"/>
          <a:lstStyle/>
          <a:p>
            <a:pPr algn="ctr">
              <a:defRPr/>
            </a:pPr>
            <a:r>
              <a:rPr lang="en-US" sz="1200" kern="0" dirty="0" smtClean="0">
                <a:solidFill>
                  <a:srgbClr val="002868"/>
                </a:solidFill>
                <a:latin typeface="Calibri" pitchFamily="34" charset="0"/>
              </a:rPr>
              <a:t>IMS Confidential</a:t>
            </a:r>
            <a:endParaRPr lang="en-US" sz="1200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2" r:id="rId1"/>
    <p:sldLayoutId id="2147484223" r:id="rId2"/>
    <p:sldLayoutId id="2147484224" r:id="rId3"/>
    <p:sldLayoutId id="2147484225" r:id="rId4"/>
    <p:sldLayoutId id="2147484226" r:id="rId5"/>
    <p:sldLayoutId id="2147484227" r:id="rId6"/>
    <p:sldLayoutId id="2147484228" r:id="rId7"/>
    <p:sldLayoutId id="2147484229" r:id="rId8"/>
    <p:sldLayoutId id="2147484230" r:id="rId9"/>
    <p:sldLayoutId id="2147484231" r:id="rId10"/>
    <p:sldLayoutId id="2147484232" r:id="rId11"/>
    <p:sldLayoutId id="2147484233" r:id="rId12"/>
    <p:sldLayoutId id="2147484234" r:id="rId13"/>
    <p:sldLayoutId id="2147484235" r:id="rId14"/>
    <p:sldLayoutId id="2147484236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IMS Health 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99714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171" name="think-cell Slide" r:id="rId15" imgW="360" imgH="36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78CA1E6-1B09-488D-A1FF-E8A47C315D2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9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  <p:sp>
        <p:nvSpPr>
          <p:cNvPr id="13" name="Footer Placeholder 42"/>
          <p:cNvSpPr txBox="1">
            <a:spLocks/>
          </p:cNvSpPr>
          <p:nvPr/>
        </p:nvSpPr>
        <p:spPr>
          <a:xfrm>
            <a:off x="3810000" y="6500495"/>
            <a:ext cx="1524000" cy="273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0"/>
          <a:lstStyle/>
          <a:p>
            <a:pPr algn="ctr">
              <a:defRPr/>
            </a:pPr>
            <a:r>
              <a:rPr lang="en-US" sz="1200" kern="0" smtClean="0">
                <a:solidFill>
                  <a:srgbClr val="002868"/>
                </a:solidFill>
                <a:latin typeface="Calibri" pitchFamily="34" charset="0"/>
              </a:rPr>
              <a:t>IMS Confidential</a:t>
            </a:r>
            <a:endParaRPr lang="en-US" sz="1200" kern="0" dirty="0">
              <a:solidFill>
                <a:srgbClr val="002868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  <p:sp>
        <p:nvSpPr>
          <p:cNvPr id="13" name="Footer Placeholder 42"/>
          <p:cNvSpPr txBox="1">
            <a:spLocks/>
          </p:cNvSpPr>
          <p:nvPr/>
        </p:nvSpPr>
        <p:spPr>
          <a:xfrm>
            <a:off x="3810000" y="6500495"/>
            <a:ext cx="1524000" cy="273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0"/>
          <a:lstStyle/>
          <a:p>
            <a:pPr algn="ctr">
              <a:defRPr/>
            </a:pPr>
            <a:r>
              <a:rPr lang="en-US" sz="1200" kern="0" dirty="0" smtClean="0">
                <a:solidFill>
                  <a:srgbClr val="002868"/>
                </a:solidFill>
                <a:latin typeface="Calibri" pitchFamily="34" charset="0"/>
              </a:rPr>
              <a:t>IMS Confidential</a:t>
            </a:r>
            <a:endParaRPr lang="en-US" sz="1200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7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72702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8483" name="think-cell Slide" r:id="rId34" imgW="360" imgH="36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r>
              <a:rPr lang="en-GB" smtClean="0"/>
              <a:t>IMS Health Confidentia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2905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34" r:id="rId12"/>
    <p:sldLayoutId id="2147483935" r:id="rId13"/>
    <p:sldLayoutId id="2147483936" r:id="rId14"/>
    <p:sldLayoutId id="2147483937" r:id="rId15"/>
    <p:sldLayoutId id="2147483938" r:id="rId16"/>
    <p:sldLayoutId id="2147483939" r:id="rId17"/>
    <p:sldLayoutId id="2147483940" r:id="rId18"/>
    <p:sldLayoutId id="2147483941" r:id="rId19"/>
    <p:sldLayoutId id="2147483942" r:id="rId20"/>
    <p:sldLayoutId id="2147483943" r:id="rId21"/>
    <p:sldLayoutId id="2147483945" r:id="rId22"/>
    <p:sldLayoutId id="2147483946" r:id="rId23"/>
    <p:sldLayoutId id="2147483947" r:id="rId24"/>
    <p:sldLayoutId id="2147483948" r:id="rId25"/>
    <p:sldLayoutId id="2147483949" r:id="rId26"/>
    <p:sldLayoutId id="2147483950" r:id="rId27"/>
    <p:sldLayoutId id="2147483951" r:id="rId28"/>
    <p:sldLayoutId id="2147483952" r:id="rId29"/>
    <p:sldLayoutId id="2147483953" r:id="rId30"/>
    <p:sldLayoutId id="2147483954" r:id="rId3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000">
          <a:solidFill>
            <a:srgbClr val="002868"/>
          </a:solidFill>
          <a:latin typeface="Calibri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−"/>
        <a:defRPr sz="1600">
          <a:solidFill>
            <a:srgbClr val="002868"/>
          </a:solidFill>
          <a:latin typeface="Calibri" pitchFamily="34" charset="0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Calibri" pitchFamily="34" charset="0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Calibri" pitchFamily="34" charset="0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Calibri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dacsv0002.internal.imsglobal.com:82/HandoverProcessPage.aspx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13" y="2510443"/>
            <a:ext cx="7448550" cy="1050925"/>
          </a:xfrm>
        </p:spPr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ervices Data Provisioning 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Title 1"/>
          <p:cNvSpPr txBox="1">
            <a:spLocks/>
          </p:cNvSpPr>
          <p:nvPr/>
        </p:nvSpPr>
        <p:spPr bwMode="gray">
          <a:xfrm>
            <a:off x="443891" y="2240814"/>
            <a:ext cx="7448550" cy="1545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600" kern="0" dirty="0" smtClean="0">
              <a:solidFill>
                <a:srgbClr val="002868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kern="0" dirty="0" smtClean="0">
                <a:solidFill>
                  <a:srgbClr val="002868"/>
                </a:solidFill>
                <a:latin typeface="+mj-lt"/>
                <a:ea typeface="+mj-ea"/>
                <a:cs typeface="+mj-cs"/>
              </a:rPr>
              <a:t>Anika Now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868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2868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41072671"/>
      </p:ext>
    </p:extLst>
  </p:cSld>
  <p:clrMapOvr>
    <a:masterClrMapping/>
  </p:clrMapOvr>
  <p:transition advTm="124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436096" y="6248400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5879" y="268069"/>
            <a:ext cx="36920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latin typeface="Verdana" pitchFamily="34" charset="0"/>
              </a:rPr>
              <a:t>WHAT WE DO</a:t>
            </a:r>
            <a:endParaRPr lang="en-US" sz="36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2954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142844" y="1676400"/>
            <a:ext cx="4286248" cy="41148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WHAT WE DO IN PRODUCTION</a:t>
            </a:r>
          </a:p>
          <a:p>
            <a:endParaRPr lang="en-US" dirty="0" smtClean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dirty="0" smtClean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dirty="0" smtClean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ata </a:t>
            </a:r>
            <a:r>
              <a:rPr lang="en-US" dirty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duction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Customize </a:t>
            </a:r>
            <a:r>
              <a:rPr lang="en-US" dirty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eed Production</a:t>
            </a:r>
          </a:p>
          <a:p>
            <a:endParaRPr lang="en-US" dirty="0" smtClean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2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5079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868144" y="6330806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2954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393655" y="1600200"/>
            <a:ext cx="4038600" cy="41148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DEVELOPMENTS</a:t>
            </a: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FFLINE DASHBOARD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ATA FEED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ATA VIEW GENERATION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PROCESS AUTOMATION</a:t>
            </a:r>
          </a:p>
          <a:p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2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300192" y="6330806"/>
            <a:ext cx="489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QC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pic>
        <p:nvPicPr>
          <p:cNvPr id="43" name="Picture 42" descr="ball_3d_by__rgpj__blue_ball_3d__by_550ayasparassoneelf-d6jrx9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6858000" y="1545389"/>
            <a:ext cx="304800" cy="31282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19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0.01065 C 0.05938 -0.02014 0.11893 -0.02963 0.12188 0.02269 C 0.12483 0.075 0.03507 0.25648 0.01771 0.30324 " pathEditMode="relative" rAng="0" ptsTypes="aaA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00" y="147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868144" y="6330806"/>
            <a:ext cx="489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QC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5240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16002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304800" y="2514600"/>
            <a:ext cx="4038600" cy="3048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WHY?</a:t>
            </a:r>
          </a:p>
          <a:p>
            <a:endParaRPr lang="en-US" sz="2400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</a:rPr>
              <a:t>To maintain quality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</a:rPr>
              <a:t>To check the proper deliver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</a:rPr>
              <a:t>To ensure zero error.</a:t>
            </a:r>
          </a:p>
          <a:p>
            <a:pPr lvl="0">
              <a:buFont typeface="Arial" pitchFamily="34" charset="0"/>
              <a:buChar char="•"/>
            </a:pPr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2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100"/>
                            </p:stCondLst>
                            <p:childTnLst>
                              <p:par>
                                <p:cTn id="2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1" grpId="0" animBg="1"/>
      <p:bldP spid="23" grpId="0" animBg="1"/>
      <p:bldP spid="2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940152" y="6330806"/>
            <a:ext cx="489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QC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5240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16002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304800" y="2514600"/>
            <a:ext cx="4038600" cy="3429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HOW?</a:t>
            </a:r>
          </a:p>
          <a:p>
            <a:endParaRPr lang="en-US" sz="2400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put  Vs outpu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urrent Vs previo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ridging alignme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ierarchy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ow cou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ze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ta Trend Analysi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ta Pattern</a:t>
            </a:r>
          </a:p>
          <a:p>
            <a:endParaRPr lang="en-US" sz="16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4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376417" y="6330806"/>
            <a:ext cx="12118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DELIVERY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pic>
        <p:nvPicPr>
          <p:cNvPr id="43" name="Picture 42" descr="ball_3d_by__rgpj__blue_ball_3d__by_550ayasparassoneelf-d6jrx9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7162800" y="3602789"/>
            <a:ext cx="304800" cy="31282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19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-0.01204 C -0.0717 0.11736 -0.14045 0.24676 -0.25208 0.2463 C -0.36406 0.24583 -0.51962 0.11551 -0.675 -0.01482 " pathEditMode="relative" rAng="0" ptsTypes="aaA">
                                      <p:cBhvr>
                                        <p:cTn id="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600" y="128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796136" y="6330806"/>
            <a:ext cx="12118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DELIVERY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43400" y="16002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16002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572000" y="2438400"/>
            <a:ext cx="3733800" cy="3048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FREQUENCY</a:t>
            </a: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rterly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onthl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ekl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early</a:t>
            </a:r>
          </a:p>
          <a:p>
            <a:pPr marL="285750" indent="-285750"/>
            <a:endParaRPr lang="en-US" dirty="0" smtClean="0">
              <a:ln w="18415" cmpd="sng">
                <a:noFill/>
                <a:prstDash val="solid"/>
              </a:ln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2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00"/>
                            </p:stCondLst>
                            <p:childTnLst>
                              <p:par>
                                <p:cTn id="2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1" grpId="0" animBg="1"/>
      <p:bldP spid="23" grpId="0" animBg="1"/>
      <p:bldP spid="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724128" y="6248400"/>
            <a:ext cx="13844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WHAT ELSE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43400" y="16002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16002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572000" y="2438400"/>
            <a:ext cx="3810000" cy="381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WAYS</a:t>
            </a: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PLOY CUB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SHBOARD DEPLO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ILE EXPR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TP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ROP OF TOOL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b="1" u="sng" dirty="0" smtClean="0">
              <a:ln w="18415" cmpd="sng">
                <a:noFill/>
                <a:prstDash val="solid"/>
              </a:ln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4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/>
        </p:nvCxnSpPr>
        <p:spPr>
          <a:xfrm rot="5400000">
            <a:off x="-1392676" y="3678636"/>
            <a:ext cx="5214974" cy="794"/>
          </a:xfrm>
          <a:prstGeom prst="line">
            <a:avLst/>
          </a:prstGeom>
          <a:ln w="50800">
            <a:solidFill>
              <a:srgbClr val="42C4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012160" y="6330806"/>
            <a:ext cx="29225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My Knowledge &amp; Expertise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42910" y="2857496"/>
            <a:ext cx="1143008" cy="1785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8493" y="3143248"/>
            <a:ext cx="1077425" cy="107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" name="Rectangle 43"/>
          <p:cNvSpPr/>
          <p:nvPr/>
        </p:nvSpPr>
        <p:spPr>
          <a:xfrm>
            <a:off x="2622590" y="1692097"/>
            <a:ext cx="616425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18415" cmpd="sng">
                  <a:noFill/>
                  <a:prstDash val="solid"/>
                </a:ln>
                <a:solidFill>
                  <a:srgbClr val="42C4F4"/>
                </a:solidFill>
                <a:latin typeface="Verdana" pitchFamily="34" charset="0"/>
              </a:rPr>
              <a:t>MICROSOFT TECHNOLOGIES</a:t>
            </a:r>
            <a:endParaRPr lang="en-US" sz="3200" b="0" cap="none" spc="0" dirty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43174" y="2928934"/>
            <a:ext cx="261193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 .NET Framework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 C#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 Visual Basic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 Web Services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57158" y="2928934"/>
            <a:ext cx="1643074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Rectangle 49"/>
          <p:cNvSpPr/>
          <p:nvPr/>
        </p:nvSpPr>
        <p:spPr>
          <a:xfrm>
            <a:off x="2961631" y="1714488"/>
            <a:ext cx="4103623" cy="5355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 smtClean="0">
                <a:solidFill>
                  <a:srgbClr val="42C4F4"/>
                </a:solidFill>
                <a:latin typeface="Verdana" pitchFamily="34" charset="0"/>
                <a:cs typeface="Arial" charset="0"/>
              </a:rPr>
              <a:t>DATA WAREHOUSE</a:t>
            </a:r>
            <a:endParaRPr lang="en-GB" sz="3200" dirty="0">
              <a:solidFill>
                <a:srgbClr val="42C4F4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643174" y="2928934"/>
            <a:ext cx="374525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SSIS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SSAS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Data quality services DQS </a:t>
            </a:r>
          </a:p>
          <a:p>
            <a:pPr>
              <a:buFont typeface="Wingdings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</a:endParaRP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497106" y="3000372"/>
            <a:ext cx="1431688" cy="143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3" name="TextBox 52"/>
          <p:cNvSpPr txBox="1"/>
          <p:nvPr/>
        </p:nvSpPr>
        <p:spPr>
          <a:xfrm>
            <a:off x="2643174" y="2928934"/>
            <a:ext cx="2154757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EXCEL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POWERPOINT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Microstrategy</a:t>
            </a: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</a:endParaRPr>
          </a:p>
          <a:p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497562" y="1711099"/>
            <a:ext cx="2626809" cy="5355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 smtClean="0">
                <a:solidFill>
                  <a:srgbClr val="42C4F4"/>
                </a:solidFill>
                <a:latin typeface="Verdana" pitchFamily="34" charset="0"/>
                <a:cs typeface="Arial" charset="0"/>
              </a:rPr>
              <a:t>REPORTING</a:t>
            </a:r>
            <a:endParaRPr lang="en-GB" sz="3200" dirty="0">
              <a:solidFill>
                <a:srgbClr val="42C4F4"/>
              </a:solidFill>
              <a:latin typeface="Verdana" pitchFamily="34" charset="0"/>
              <a:cs typeface="Arial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642910" y="3071810"/>
            <a:ext cx="1071570" cy="139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6" name="Rectangle 55"/>
          <p:cNvSpPr/>
          <p:nvPr/>
        </p:nvSpPr>
        <p:spPr>
          <a:xfrm>
            <a:off x="2571736" y="1711099"/>
            <a:ext cx="2367571" cy="5355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dirty="0" smtClean="0">
                <a:solidFill>
                  <a:srgbClr val="42C4F4"/>
                </a:solidFill>
                <a:latin typeface="Verdana" pitchFamily="34" charset="0"/>
                <a:cs typeface="Arial" charset="0"/>
              </a:rPr>
              <a:t>DATABASE</a:t>
            </a:r>
            <a:endParaRPr lang="en-GB" sz="3200" dirty="0">
              <a:solidFill>
                <a:srgbClr val="42C4F4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78440" y="2928934"/>
            <a:ext cx="211949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SQL SERVER 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MS ACCESS</a:t>
            </a:r>
          </a:p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 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</a:endParaRPr>
          </a:p>
        </p:txBody>
      </p:sp>
      <p:sp>
        <p:nvSpPr>
          <p:cNvPr id="24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Tools &amp; Technology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5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4628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xit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44" grpId="0"/>
      <p:bldP spid="48" grpId="0"/>
      <p:bldP spid="50" grpId="0"/>
      <p:bldP spid="50" grpId="1"/>
      <p:bldP spid="51" grpId="0"/>
      <p:bldP spid="51" grpId="1"/>
      <p:bldP spid="53" grpId="0"/>
      <p:bldP spid="53" grpId="1"/>
      <p:bldP spid="54" grpId="0"/>
      <p:bldP spid="54" grpId="1"/>
      <p:bldP spid="56" grpId="0"/>
      <p:bldP spid="5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80112" y="6330806"/>
            <a:ext cx="2262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ject Involvement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42391" y="2733575"/>
            <a:ext cx="345638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Gilea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PF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Life Sca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SPMS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BI &amp; GSK Austria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b="1" dirty="0" smtClean="0">
                <a:solidFill>
                  <a:srgbClr val="00A5EA"/>
                </a:solidFill>
              </a:rPr>
              <a:t>Mundi </a:t>
            </a:r>
            <a:r>
              <a:rPr lang="en-US" sz="2000" b="1" dirty="0" err="1" smtClean="0">
                <a:solidFill>
                  <a:srgbClr val="00A5EA"/>
                </a:solidFill>
              </a:rPr>
              <a:t>Pharma</a:t>
            </a:r>
            <a:endParaRPr lang="en-US" sz="2000" b="1" dirty="0">
              <a:solidFill>
                <a:srgbClr val="00A5EA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84113" y="2060848"/>
            <a:ext cx="2772939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u="sng" dirty="0">
                <a:solidFill>
                  <a:srgbClr val="00A5EA"/>
                </a:solidFill>
              </a:rPr>
              <a:t>Current Project</a:t>
            </a:r>
          </a:p>
          <a:p>
            <a:endParaRPr lang="en-US" dirty="0"/>
          </a:p>
        </p:txBody>
      </p:sp>
      <p:pic>
        <p:nvPicPr>
          <p:cNvPr id="905218" name="Picture 2" descr="C:\Users\anower\Desktop\New folder\Gilea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57550" y="2922622"/>
            <a:ext cx="3295850" cy="1259390"/>
          </a:xfrm>
          <a:prstGeom prst="rect">
            <a:avLst/>
          </a:prstGeom>
          <a:noFill/>
        </p:spPr>
      </p:pic>
      <p:pic>
        <p:nvPicPr>
          <p:cNvPr id="902146" name="Picture 2" descr="C:\Users\anower\Desktop\New folder\LifeScan_Logo_346_82_9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57052" y="4589819"/>
            <a:ext cx="3743948" cy="781050"/>
          </a:xfrm>
          <a:prstGeom prst="rect">
            <a:avLst/>
          </a:prstGeom>
          <a:noFill/>
        </p:spPr>
      </p:pic>
      <p:sp>
        <p:nvSpPr>
          <p:cNvPr id="13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Project Involvement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7710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 for Discussion</a:t>
            </a:r>
            <a:endParaRPr lang="en-US" dirty="0"/>
          </a:p>
        </p:txBody>
      </p:sp>
      <p:graphicFrame>
        <p:nvGraphicFramePr>
          <p:cNvPr id="1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484307441"/>
              </p:ext>
            </p:extLst>
          </p:nvPr>
        </p:nvGraphicFramePr>
        <p:xfrm>
          <a:off x="495300" y="1600200"/>
          <a:ext cx="8123768" cy="390772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64554"/>
                <a:gridCol w="7559214"/>
              </a:tblGrid>
              <a:tr h="342838">
                <a:tc>
                  <a:txBody>
                    <a:bodyPr/>
                    <a:lstStyle/>
                    <a:p>
                      <a:pPr marL="0" marR="0" lvl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0" cap="none" spc="6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#</a:t>
                      </a:r>
                      <a:endParaRPr kumimoji="0" lang="en-US" sz="1200" b="1" i="0" u="none" strike="noStrike" kern="0" cap="none" spc="6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180472" marR="180472" marT="54969" marB="54969" anchor="ctr"/>
                </a:tc>
                <a:tc>
                  <a:txBody>
                    <a:bodyPr/>
                    <a:lstStyle/>
                    <a:p>
                      <a:pPr marL="0" marR="0" lvl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u="none" strike="noStrike" kern="0" cap="none" spc="6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TOPICS</a:t>
                      </a:r>
                      <a:endParaRPr kumimoji="0" lang="en-US" sz="2000" b="1" i="0" u="none" strike="noStrike" kern="0" cap="none" spc="6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180472" marR="180472" marT="54969" marB="54969" anchor="ctr"/>
                </a:tc>
              </a:tr>
              <a:tr h="422678"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rgbClr val="1C2980"/>
                          </a:solidFill>
                        </a:rPr>
                        <a:t>1</a:t>
                      </a:r>
                      <a:endParaRPr lang="en-US" sz="2000" b="0" i="0" dirty="0">
                        <a:solidFill>
                          <a:srgbClr val="1C2980"/>
                        </a:solidFill>
                        <a:latin typeface="Arial"/>
                        <a:cs typeface="Arial"/>
                      </a:endParaRP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2000" b="0" i="0" u="none" strike="noStrike" baseline="0" dirty="0" smtClean="0">
                          <a:solidFill>
                            <a:srgbClr val="1C2980"/>
                          </a:solidFill>
                          <a:latin typeface="+mn-lt"/>
                        </a:rPr>
                        <a:t>SDP Team Profile</a:t>
                      </a:r>
                      <a:endParaRPr lang="en-US" sz="2000" b="0" i="0" u="none" strike="noStrike" dirty="0">
                        <a:solidFill>
                          <a:srgbClr val="1C2980"/>
                        </a:solidFill>
                        <a:latin typeface="Calibri" pitchFamily="34" charset="0"/>
                      </a:endParaRPr>
                    </a:p>
                  </a:txBody>
                  <a:tcPr marL="180472" marR="180472" marT="54969" marB="54969">
                    <a:lnR w="12700" cap="flat" cmpd="sng" algn="ctr">
                      <a:solidFill>
                        <a:srgbClr val="23A3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23A3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016">
                <a:tc>
                  <a:txBody>
                    <a:bodyPr/>
                    <a:lstStyle/>
                    <a:p>
                      <a:pPr algn="l"/>
                      <a:r>
                        <a:rPr lang="en-US" sz="2000" b="0" i="0" dirty="0" smtClean="0">
                          <a:solidFill>
                            <a:srgbClr val="1C2980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lang="en-US" sz="2000" b="0" i="0" dirty="0">
                        <a:solidFill>
                          <a:srgbClr val="1C2980"/>
                        </a:solidFill>
                        <a:latin typeface="Arial"/>
                        <a:cs typeface="Arial"/>
                      </a:endParaRP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baseline="0" dirty="0" smtClean="0">
                          <a:solidFill>
                            <a:srgbClr val="1C2980"/>
                          </a:solidFill>
                          <a:latin typeface="+mn-lt"/>
                        </a:rPr>
                        <a:t>What We Do</a:t>
                      </a:r>
                    </a:p>
                  </a:txBody>
                  <a:tcPr marL="180472" marR="180472" marT="54969" marB="54969">
                    <a:lnT w="12700" cap="flat" cmpd="sng" algn="ctr">
                      <a:solidFill>
                        <a:srgbClr val="23A3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3A3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016"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>
                          <a:solidFill>
                            <a:srgbClr val="1C2980"/>
                          </a:solidFill>
                        </a:rPr>
                        <a:t>2</a:t>
                      </a:r>
                      <a:endParaRPr lang="en-US" sz="2000" b="0" i="0" dirty="0">
                        <a:solidFill>
                          <a:srgbClr val="1C2980"/>
                        </a:solidFill>
                        <a:latin typeface="Arial"/>
                        <a:cs typeface="Arial"/>
                      </a:endParaRP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1C2980"/>
                          </a:solidFill>
                          <a:latin typeface="+mn-lt"/>
                        </a:rPr>
                        <a:t>Tools &amp; Technologies</a:t>
                      </a:r>
                      <a:endParaRPr lang="en-US" sz="2000" b="0" i="0" u="none" strike="noStrike" baseline="0" dirty="0" smtClean="0">
                        <a:solidFill>
                          <a:srgbClr val="1C2980"/>
                        </a:solidFill>
                        <a:latin typeface="+mn-lt"/>
                      </a:endParaRPr>
                    </a:p>
                  </a:txBody>
                  <a:tcPr marL="180472" marR="180472" marT="54969" marB="54969">
                    <a:lnT w="12700" cap="flat" cmpd="sng" algn="ctr">
                      <a:solidFill>
                        <a:srgbClr val="23A3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66016">
                <a:tc>
                  <a:txBody>
                    <a:bodyPr/>
                    <a:lstStyle/>
                    <a:p>
                      <a:pPr algn="l"/>
                      <a:r>
                        <a:rPr lang="en-US" sz="2000" b="0" i="0" dirty="0" smtClean="0">
                          <a:solidFill>
                            <a:srgbClr val="1C2980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en-US" sz="2000" b="0" i="0" dirty="0">
                        <a:solidFill>
                          <a:srgbClr val="1C2980"/>
                        </a:solidFill>
                        <a:latin typeface="Arial"/>
                        <a:cs typeface="Arial"/>
                      </a:endParaRP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baseline="0" dirty="0" smtClean="0">
                          <a:solidFill>
                            <a:srgbClr val="1C2980"/>
                          </a:solidFill>
                          <a:latin typeface="+mn-lt"/>
                        </a:rPr>
                        <a:t>Project Involvement</a:t>
                      </a:r>
                    </a:p>
                  </a:txBody>
                  <a:tcPr marL="180472" marR="180472" marT="54969" marB="54969"/>
                </a:tc>
              </a:tr>
              <a:tr h="557419"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dirty="0" smtClean="0">
                          <a:solidFill>
                            <a:srgbClr val="1C2980"/>
                          </a:solidFill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1C2980"/>
                          </a:solidFill>
                          <a:latin typeface="+mn-lt"/>
                        </a:rPr>
                        <a:t>Achievement</a:t>
                      </a:r>
                    </a:p>
                  </a:txBody>
                  <a:tcPr marL="180472" marR="180472" marT="54969" marB="54969"/>
                </a:tc>
              </a:tr>
              <a:tr h="557419"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dirty="0" smtClean="0">
                          <a:solidFill>
                            <a:srgbClr val="1C2980"/>
                          </a:solidFill>
                          <a:latin typeface="+mn-lt"/>
                          <a:cs typeface="+mn-cs"/>
                        </a:rPr>
                        <a:t>6</a:t>
                      </a:r>
                      <a:endParaRPr lang="en-US" sz="2000" b="0" i="0" dirty="0" smtClean="0">
                        <a:solidFill>
                          <a:srgbClr val="1C2980"/>
                        </a:solidFill>
                        <a:latin typeface="Arial"/>
                        <a:cs typeface="Arial"/>
                      </a:endParaRP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1C2980"/>
                          </a:solidFill>
                          <a:latin typeface="+mn-lt"/>
                        </a:rPr>
                        <a:t>Utilization</a:t>
                      </a:r>
                      <a:endParaRPr lang="en-US" sz="2000" b="0" i="0" u="none" strike="noStrike" dirty="0" smtClean="0">
                        <a:solidFill>
                          <a:srgbClr val="1C2980"/>
                        </a:solidFill>
                        <a:latin typeface="Calibri" pitchFamily="34" charset="0"/>
                      </a:endParaRPr>
                    </a:p>
                  </a:txBody>
                  <a:tcPr marL="180472" marR="180472" marT="54969" marB="54969"/>
                </a:tc>
              </a:tr>
              <a:tr h="557419"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dirty="0" smtClean="0">
                          <a:solidFill>
                            <a:srgbClr val="1C2980"/>
                          </a:solidFill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marL="180472" marR="180472" marT="54969" marB="54969"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 smtClean="0">
                          <a:solidFill>
                            <a:srgbClr val="1C2980"/>
                          </a:solidFill>
                          <a:latin typeface="+mn-lt"/>
                        </a:rPr>
                        <a:t>Contribution &amp; Suggestions</a:t>
                      </a:r>
                    </a:p>
                  </a:txBody>
                  <a:tcPr marL="180472" marR="180472" marT="54969" marB="54969"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481359" y="924431"/>
            <a:ext cx="8284355" cy="2852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</p:spTree>
    <p:extLst>
      <p:ext uri="{BB962C8B-B14F-4D97-AF65-F5344CB8AC3E}">
        <p14:creationId xmlns="" xmlns:p14="http://schemas.microsoft.com/office/powerpoint/2010/main" val="492790710"/>
      </p:ext>
    </p:extLst>
  </p:cSld>
  <p:clrMapOvr>
    <a:masterClrMapping/>
  </p:clrMapOvr>
  <p:transition advTm="0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74" name="Rectangle 73"/>
          <p:cNvSpPr/>
          <p:nvPr/>
        </p:nvSpPr>
        <p:spPr>
          <a:xfrm>
            <a:off x="4343400" y="15240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TextBox 120"/>
          <p:cNvSpPr txBox="1"/>
          <p:nvPr/>
        </p:nvSpPr>
        <p:spPr>
          <a:xfrm>
            <a:off x="6477000" y="41910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06240" y="2060848"/>
            <a:ext cx="8342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1616" y="1413937"/>
            <a:ext cx="8706230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u="sng" dirty="0" smtClean="0">
                <a:solidFill>
                  <a:srgbClr val="00A5EA"/>
                </a:solidFill>
              </a:rPr>
              <a:t>New </a:t>
            </a:r>
            <a:r>
              <a:rPr lang="en-US" sz="3200" b="1" u="sng" dirty="0">
                <a:solidFill>
                  <a:srgbClr val="00A5EA"/>
                </a:solidFill>
              </a:rPr>
              <a:t>Feed Integration/ Development</a:t>
            </a:r>
          </a:p>
          <a:p>
            <a:r>
              <a:rPr lang="en-US" sz="3200" b="1" u="sng" dirty="0" smtClean="0">
                <a:solidFill>
                  <a:srgbClr val="00A5EA"/>
                </a:solidFill>
              </a:rPr>
              <a:t> </a:t>
            </a:r>
            <a:endParaRPr lang="en-US" sz="3200" b="1" u="sng" dirty="0">
              <a:solidFill>
                <a:srgbClr val="00A5EA"/>
              </a:solidFill>
            </a:endParaRP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430094" y="2060848"/>
            <a:ext cx="51325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rgbClr val="00A5EA"/>
                </a:solidFill>
              </a:rPr>
              <a:t>D</a:t>
            </a:r>
            <a:r>
              <a:rPr lang="en-US" sz="2000" b="1" u="sng" dirty="0" smtClean="0">
                <a:solidFill>
                  <a:srgbClr val="00A5EA"/>
                </a:solidFill>
              </a:rPr>
              <a:t>eliverables:</a:t>
            </a:r>
          </a:p>
          <a:p>
            <a:endParaRPr lang="en-US" sz="2000" b="1" dirty="0">
              <a:solidFill>
                <a:srgbClr val="00A5EA"/>
              </a:solidFill>
            </a:endParaRPr>
          </a:p>
          <a:p>
            <a:pPr marL="742950" lvl="1" indent="-285750">
              <a:buFont typeface="Wingdings" pitchFamily="2" charset="2"/>
              <a:buChar char="ü"/>
            </a:pPr>
            <a:r>
              <a:rPr lang="en-US" b="1" dirty="0">
                <a:solidFill>
                  <a:srgbClr val="00A5EA"/>
                </a:solidFill>
              </a:rPr>
              <a:t>Geo Dimension File</a:t>
            </a:r>
          </a:p>
          <a:p>
            <a:pPr marL="742950" lvl="1" indent="-285750">
              <a:buFont typeface="Wingdings" pitchFamily="2" charset="2"/>
              <a:buChar char="ü"/>
            </a:pPr>
            <a:r>
              <a:rPr lang="en-US" b="1" dirty="0">
                <a:solidFill>
                  <a:srgbClr val="00A5EA"/>
                </a:solidFill>
              </a:rPr>
              <a:t>Product Dimension File</a:t>
            </a:r>
          </a:p>
          <a:p>
            <a:pPr marL="742950" lvl="1" indent="-285750">
              <a:buFont typeface="Wingdings" pitchFamily="2" charset="2"/>
              <a:buChar char="ü"/>
            </a:pPr>
            <a:r>
              <a:rPr lang="en-US" b="1" dirty="0">
                <a:solidFill>
                  <a:srgbClr val="00A5EA"/>
                </a:solidFill>
              </a:rPr>
              <a:t>Fact File (sales File</a:t>
            </a:r>
            <a:r>
              <a:rPr lang="en-US" b="1" dirty="0" smtClean="0">
                <a:solidFill>
                  <a:srgbClr val="00A5EA"/>
                </a:solidFill>
              </a:rPr>
              <a:t>)</a:t>
            </a:r>
          </a:p>
          <a:p>
            <a:pPr marL="742950" lvl="1" indent="-285750">
              <a:buFont typeface="Wingdings" pitchFamily="2" charset="2"/>
              <a:buChar char="ü"/>
            </a:pPr>
            <a:endParaRPr lang="en-US" b="1" dirty="0">
              <a:solidFill>
                <a:srgbClr val="00A5EA"/>
              </a:solidFill>
            </a:endParaRPr>
          </a:p>
          <a:p>
            <a:r>
              <a:rPr lang="en-US" sz="2000" b="1" dirty="0">
                <a:solidFill>
                  <a:srgbClr val="00A5EA"/>
                </a:solidFill>
              </a:rPr>
              <a:t>  </a:t>
            </a:r>
            <a:r>
              <a:rPr lang="en-US" sz="2000" b="1" u="sng" dirty="0" smtClean="0">
                <a:solidFill>
                  <a:srgbClr val="00A5EA"/>
                </a:solidFill>
              </a:rPr>
              <a:t>Input:</a:t>
            </a:r>
          </a:p>
          <a:p>
            <a:endParaRPr lang="en-US" sz="2000" b="1" u="sng" dirty="0">
              <a:solidFill>
                <a:srgbClr val="00A5EA"/>
              </a:solidFill>
            </a:endParaRPr>
          </a:p>
          <a:p>
            <a:r>
              <a:rPr lang="en-US" b="1" dirty="0" smtClean="0">
                <a:solidFill>
                  <a:srgbClr val="00A5EA"/>
                </a:solidFill>
              </a:rPr>
              <a:t>       SA </a:t>
            </a:r>
            <a:r>
              <a:rPr lang="en-US" b="1" dirty="0">
                <a:solidFill>
                  <a:srgbClr val="00A5EA"/>
                </a:solidFill>
              </a:rPr>
              <a:t>cube/IAM cube/Flat File/Data view File etc.</a:t>
            </a:r>
          </a:p>
          <a:p>
            <a:endParaRPr lang="en-US" b="1" dirty="0">
              <a:solidFill>
                <a:srgbClr val="00A5EA"/>
              </a:solidFill>
            </a:endParaRPr>
          </a:p>
          <a:p>
            <a:r>
              <a:rPr lang="en-US" sz="2000" b="1" dirty="0">
                <a:solidFill>
                  <a:srgbClr val="00A5EA"/>
                </a:solidFill>
              </a:rPr>
              <a:t>  </a:t>
            </a:r>
            <a:r>
              <a:rPr lang="en-US" sz="2000" b="1" u="sng" dirty="0" smtClean="0">
                <a:solidFill>
                  <a:srgbClr val="00A5EA"/>
                </a:solidFill>
              </a:rPr>
              <a:t>Used </a:t>
            </a:r>
            <a:r>
              <a:rPr lang="en-US" sz="2000" b="1" u="sng" dirty="0">
                <a:solidFill>
                  <a:srgbClr val="00A5EA"/>
                </a:solidFill>
              </a:rPr>
              <a:t>Technologies</a:t>
            </a:r>
            <a:r>
              <a:rPr lang="en-US" sz="2000" b="1" u="sng" dirty="0" smtClean="0">
                <a:solidFill>
                  <a:srgbClr val="00A5EA"/>
                </a:solidFill>
              </a:rPr>
              <a:t>:</a:t>
            </a:r>
          </a:p>
          <a:p>
            <a:endParaRPr lang="en-US" sz="2000" b="1" dirty="0">
              <a:solidFill>
                <a:srgbClr val="00A5EA"/>
              </a:solidFill>
            </a:endParaRPr>
          </a:p>
          <a:p>
            <a:r>
              <a:rPr lang="en-US" b="1" dirty="0" smtClean="0">
                <a:solidFill>
                  <a:srgbClr val="00A5EA"/>
                </a:solidFill>
              </a:rPr>
              <a:t>      SQL</a:t>
            </a:r>
            <a:r>
              <a:rPr lang="en-US" b="1" dirty="0">
                <a:solidFill>
                  <a:srgbClr val="00A5EA"/>
                </a:solidFill>
              </a:rPr>
              <a:t>, </a:t>
            </a:r>
            <a:r>
              <a:rPr lang="en-US" b="1" dirty="0" smtClean="0">
                <a:solidFill>
                  <a:srgbClr val="00A5EA"/>
                </a:solidFill>
              </a:rPr>
              <a:t>SSIS, Scripts.</a:t>
            </a:r>
            <a:endParaRPr lang="en-US" b="1" dirty="0">
              <a:solidFill>
                <a:srgbClr val="00A5EA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52623" y="5193341"/>
            <a:ext cx="1879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A5EA"/>
                </a:solidFill>
              </a:rPr>
              <a:t>SSIS Development</a:t>
            </a:r>
            <a:endParaRPr lang="en-US" dirty="0">
              <a:solidFill>
                <a:srgbClr val="00A5EA"/>
              </a:solidFill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7489" y="2252054"/>
            <a:ext cx="3320975" cy="284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</a:rPr>
              <a:t>Project Involvement</a:t>
            </a:r>
            <a:br>
              <a:rPr lang="en-US" b="1" dirty="0" smtClean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24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002868"/>
                </a:solidFill>
                <a:latin typeface="Calibri" pitchFamily="34" charset="0"/>
              </a:rPr>
              <a:t>Project Involvement</a:t>
            </a:r>
            <a:endParaRPr lang="en-US" sz="2400" kern="0" dirty="0">
              <a:solidFill>
                <a:srgbClr val="002868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12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</a:rPr>
              <a:t>Project Involvement</a:t>
            </a:r>
            <a:br>
              <a:rPr lang="en-US" b="1" dirty="0" smtClean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06240" y="2060848"/>
            <a:ext cx="8342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1616" y="1413937"/>
            <a:ext cx="938802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u="sng" dirty="0" smtClean="0">
                <a:solidFill>
                  <a:srgbClr val="00A5EA"/>
                </a:solidFill>
              </a:rPr>
              <a:t>Change Request and Technical Solution</a:t>
            </a:r>
            <a:endParaRPr lang="en-US" sz="2800" b="1" u="sng" dirty="0">
              <a:solidFill>
                <a:srgbClr val="00A5EA"/>
              </a:solidFill>
            </a:endParaRPr>
          </a:p>
          <a:p>
            <a:r>
              <a:rPr lang="en-US" sz="3200" b="1" u="sng" dirty="0" smtClean="0">
                <a:solidFill>
                  <a:srgbClr val="00A5EA"/>
                </a:solidFill>
              </a:rPr>
              <a:t> </a:t>
            </a:r>
            <a:endParaRPr lang="en-US" sz="3200" b="1" u="sng" dirty="0">
              <a:solidFill>
                <a:srgbClr val="00A5EA"/>
              </a:solidFill>
            </a:endParaRPr>
          </a:p>
          <a:p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430094" y="2060848"/>
            <a:ext cx="83183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rgbClr val="00A5EA"/>
                </a:solidFill>
              </a:rPr>
              <a:t>Change Request </a:t>
            </a:r>
            <a:r>
              <a:rPr lang="en-US" sz="2000" b="1" u="sng" dirty="0" smtClean="0">
                <a:solidFill>
                  <a:srgbClr val="00A5EA"/>
                </a:solidFill>
              </a:rPr>
              <a:t>Handle</a:t>
            </a:r>
          </a:p>
          <a:p>
            <a:endParaRPr lang="en-US" sz="2000" b="1" u="sng" dirty="0">
              <a:solidFill>
                <a:srgbClr val="00A5EA"/>
              </a:solidFill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Business </a:t>
            </a:r>
            <a:r>
              <a:rPr lang="en-US" sz="2000" b="1" dirty="0" smtClean="0">
                <a:solidFill>
                  <a:srgbClr val="00A5EA"/>
                </a:solidFill>
              </a:rPr>
              <a:t>logic.</a:t>
            </a:r>
            <a:endParaRPr lang="en-US" sz="2000" b="1" dirty="0">
              <a:solidFill>
                <a:srgbClr val="00A5EA"/>
              </a:solidFill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Change in Geography structures.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Change in Sales file (Exchange rate problem)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Many Others.</a:t>
            </a:r>
          </a:p>
          <a:p>
            <a:endParaRPr lang="en-US" sz="2000" b="1" dirty="0">
              <a:solidFill>
                <a:srgbClr val="00A5EA"/>
              </a:solidFill>
            </a:endParaRPr>
          </a:p>
          <a:p>
            <a:r>
              <a:rPr lang="en-US" sz="2000" b="1" u="sng" dirty="0">
                <a:solidFill>
                  <a:srgbClr val="00A5EA"/>
                </a:solidFill>
              </a:rPr>
              <a:t>Provide technical solution to existing production </a:t>
            </a:r>
            <a:r>
              <a:rPr lang="en-US" sz="2000" b="1" u="sng" dirty="0" smtClean="0">
                <a:solidFill>
                  <a:srgbClr val="00A5EA"/>
                </a:solidFill>
              </a:rPr>
              <a:t>system</a:t>
            </a:r>
          </a:p>
          <a:p>
            <a:endParaRPr lang="en-US" sz="2000" b="1" u="sng" dirty="0">
              <a:solidFill>
                <a:srgbClr val="00A5EA"/>
              </a:solidFill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Finding &amp; providing solution to </a:t>
            </a:r>
            <a:r>
              <a:rPr lang="en-US" sz="2000" b="1" dirty="0" smtClean="0">
                <a:solidFill>
                  <a:srgbClr val="00A5EA"/>
                </a:solidFill>
              </a:rPr>
              <a:t>On Shore </a:t>
            </a:r>
            <a:r>
              <a:rPr lang="en-US" sz="2000" b="1" dirty="0">
                <a:solidFill>
                  <a:srgbClr val="00A5EA"/>
                </a:solidFill>
              </a:rPr>
              <a:t>team.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If any change require in system.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000" b="1" dirty="0">
                <a:solidFill>
                  <a:srgbClr val="00A5EA"/>
                </a:solidFill>
              </a:rPr>
              <a:t>Silly issues.</a:t>
            </a:r>
          </a:p>
        </p:txBody>
      </p:sp>
      <p:sp>
        <p:nvSpPr>
          <p:cNvPr id="12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002868"/>
                </a:solidFill>
                <a:latin typeface="Calibri" pitchFamily="34" charset="0"/>
              </a:rPr>
              <a:t>Project Involvement</a:t>
            </a:r>
            <a:endParaRPr lang="en-US" sz="2400" kern="0" dirty="0">
              <a:solidFill>
                <a:srgbClr val="002868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06240" y="2060848"/>
            <a:ext cx="8342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961" y="1676400"/>
            <a:ext cx="7232731" cy="3963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2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002868"/>
                </a:solidFill>
                <a:latin typeface="Calibri" pitchFamily="34" charset="0"/>
              </a:rPr>
              <a:t>Achievement In Project </a:t>
            </a:r>
            <a:endParaRPr lang="en-US" sz="2400" kern="0" dirty="0">
              <a:solidFill>
                <a:srgbClr val="002868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06240" y="2060848"/>
            <a:ext cx="8342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43000"/>
            <a:ext cx="91440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571472" y="2428868"/>
            <a:ext cx="7858180" cy="3214710"/>
          </a:xfrm>
          <a:prstGeom prst="rect">
            <a:avLst/>
          </a:prstGeom>
          <a:solidFill>
            <a:schemeClr val="tx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143000" y="2667000"/>
            <a:ext cx="6477000" cy="267765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OVER </a:t>
            </a:r>
            <a:r>
              <a:rPr lang="en-US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0+ </a:t>
            </a: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LIVERABLES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OVER </a:t>
            </a:r>
            <a:r>
              <a:rPr lang="en-US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5+ </a:t>
            </a: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TISFIED CLIENTS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APPRECIATION FROM CLIENTS ANDONSHORE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NOTICEABLE REVENUE OF DHAKA IMS  IS FROM TEAM SDP</a:t>
            </a:r>
          </a:p>
        </p:txBody>
      </p:sp>
      <p:sp>
        <p:nvSpPr>
          <p:cNvPr id="18" name="Title 2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002868"/>
                </a:solidFill>
                <a:latin typeface="Calibri" pitchFamily="34" charset="0"/>
              </a:rPr>
              <a:t>Achievement In Team </a:t>
            </a:r>
            <a:endParaRPr lang="en-US" sz="2400" kern="0" dirty="0">
              <a:solidFill>
                <a:srgbClr val="002868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06240" y="2060848"/>
            <a:ext cx="8342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b="1" dirty="0">
              <a:solidFill>
                <a:srgbClr val="00A5EA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5879" y="268069"/>
            <a:ext cx="28376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Utilization</a:t>
            </a:r>
            <a:endParaRPr lang="en-US" sz="3600" b="1" dirty="0">
              <a:solidFill>
                <a:schemeClr val="bg1"/>
              </a:solidFill>
            </a:endParaRPr>
          </a:p>
        </p:txBody>
      </p:sp>
      <p:graphicFrame>
        <p:nvGraphicFramePr>
          <p:cNvPr id="17" name="Chart 16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</a:rPr>
              <a:t>Utilization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353BA6A-D68F-46D3-9814-E88CD1AE331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US" dirty="0"/>
          </a:p>
        </p:txBody>
      </p:sp>
      <p:sp>
        <p:nvSpPr>
          <p:cNvPr id="123" name="Rectangle 122"/>
          <p:cNvSpPr/>
          <p:nvPr/>
        </p:nvSpPr>
        <p:spPr>
          <a:xfrm>
            <a:off x="4495800" y="16764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06240" y="2060848"/>
            <a:ext cx="83422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Font typeface="Wingdings" pitchFamily="2" charset="2"/>
              <a:buChar char="Ø"/>
            </a:pPr>
            <a:r>
              <a:rPr lang="en-US" sz="2000" b="1" dirty="0" smtClean="0">
                <a:solidFill>
                  <a:srgbClr val="00A5EA"/>
                </a:solidFill>
              </a:rPr>
              <a:t>Make Utilization 100%</a:t>
            </a:r>
          </a:p>
          <a:p>
            <a:pPr algn="ctr">
              <a:buFont typeface="Wingdings" pitchFamily="2" charset="2"/>
              <a:buChar char="Ø"/>
            </a:pPr>
            <a:r>
              <a:rPr lang="en-US" sz="2000" b="1" dirty="0" smtClean="0">
                <a:solidFill>
                  <a:srgbClr val="00A5EA"/>
                </a:solidFill>
              </a:rPr>
              <a:t>Handle More projects </a:t>
            </a:r>
          </a:p>
          <a:p>
            <a:pPr algn="ctr">
              <a:buFont typeface="Wingdings" pitchFamily="2" charset="2"/>
              <a:buChar char="Ø"/>
            </a:pPr>
            <a:r>
              <a:rPr lang="en-US" sz="2000" b="1" dirty="0" smtClean="0">
                <a:solidFill>
                  <a:srgbClr val="00A5EA"/>
                </a:solidFill>
              </a:rPr>
              <a:t>Arrange Technical Training</a:t>
            </a:r>
          </a:p>
          <a:p>
            <a:pPr algn="ctr">
              <a:buFont typeface="Wingdings" pitchFamily="2" charset="2"/>
              <a:buChar char="Ø"/>
            </a:pPr>
            <a:endParaRPr lang="en-US" sz="2000" b="1" dirty="0">
              <a:solidFill>
                <a:srgbClr val="00A5EA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</a:rPr>
              <a:t>Contribution &amp; Suggestion In Team</a:t>
            </a:r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96810340"/>
      </p:ext>
    </p:extLst>
  </p:cSld>
  <p:clrMapOvr>
    <a:masterClrMapping/>
  </p:clrMapOvr>
  <p:transition spd="med" advTm="14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55613" y="2164225"/>
            <a:ext cx="7448550" cy="1050925"/>
          </a:xfrm>
        </p:spPr>
        <p:txBody>
          <a:bodyPr/>
          <a:lstStyle/>
          <a:p>
            <a:r>
              <a:rPr lang="en-US" b="1" dirty="0" smtClean="0"/>
              <a:t>Thank you</a:t>
            </a:r>
            <a:endParaRPr lang="en-US" b="1" dirty="0"/>
          </a:p>
        </p:txBody>
      </p:sp>
    </p:spTree>
  </p:cSld>
  <p:clrMapOvr>
    <a:masterClrMapping/>
  </p:clrMapOvr>
  <p:transition advTm="530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nip Diagonal Corner Rectangle 25"/>
          <p:cNvSpPr/>
          <p:nvPr/>
        </p:nvSpPr>
        <p:spPr>
          <a:xfrm>
            <a:off x="428194" y="1052623"/>
            <a:ext cx="8513785" cy="2094614"/>
          </a:xfrm>
          <a:prstGeom prst="snip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smtClean="0"/>
              <a:t>IMS Health Confidentia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</a:rPr>
              <a:t>SDP Team Profil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1359" y="924431"/>
            <a:ext cx="8284355" cy="2852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aphicFrame>
        <p:nvGraphicFramePr>
          <p:cNvPr id="19" name="Diagram 18"/>
          <p:cNvGraphicFramePr/>
          <p:nvPr/>
        </p:nvGraphicFramePr>
        <p:xfrm>
          <a:off x="481359" y="1052623"/>
          <a:ext cx="8284355" cy="1766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0" name="Object 2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818707" y="3859482"/>
          <a:ext cx="3051543" cy="1650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Rounded Rectangle 20"/>
          <p:cNvSpPr/>
          <p:nvPr/>
        </p:nvSpPr>
        <p:spPr>
          <a:xfrm>
            <a:off x="428194" y="1391175"/>
            <a:ext cx="8513785" cy="20750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5" name="Rectangle 24"/>
          <p:cNvSpPr>
            <a:spLocks/>
          </p:cNvSpPr>
          <p:nvPr/>
        </p:nvSpPr>
        <p:spPr>
          <a:xfrm>
            <a:off x="681922" y="3466213"/>
            <a:ext cx="3735698" cy="381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Experience Distribution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12651" y="924431"/>
            <a:ext cx="457200" cy="2852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tangle 27"/>
          <p:cNvSpPr/>
          <p:nvPr/>
        </p:nvSpPr>
        <p:spPr>
          <a:xfrm>
            <a:off x="681922" y="3859480"/>
            <a:ext cx="3723823" cy="2185059"/>
          </a:xfrm>
          <a:prstGeom prst="rect">
            <a:avLst/>
          </a:prstGeom>
          <a:noFill/>
          <a:ln>
            <a:solidFill>
              <a:srgbClr val="73AF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4757242" y="3847611"/>
            <a:ext cx="4008472" cy="2196927"/>
          </a:xfrm>
          <a:prstGeom prst="rect">
            <a:avLst/>
          </a:prstGeom>
          <a:ln>
            <a:solidFill>
              <a:srgbClr val="73AFB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28600" indent="-228600">
              <a:buClr>
                <a:schemeClr val="accent1"/>
              </a:buClr>
              <a:buFont typeface="Verdana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Periodically Data Refresh</a:t>
            </a:r>
          </a:p>
          <a:p>
            <a:pPr marL="228600" indent="-228600">
              <a:buClr>
                <a:schemeClr val="accent1"/>
              </a:buClr>
              <a:buFont typeface="Verdana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Feed Deliveries with new development</a:t>
            </a:r>
          </a:p>
          <a:p>
            <a:pPr marL="228600" indent="-228600">
              <a:buClr>
                <a:schemeClr val="accent1"/>
              </a:buClr>
              <a:buFont typeface="Verdana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Change Request Management</a:t>
            </a:r>
          </a:p>
          <a:p>
            <a:pPr marL="228600" indent="-228600">
              <a:buClr>
                <a:schemeClr val="accent1"/>
              </a:buClr>
              <a:buFont typeface="Verdana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Data analysis and QA report generation</a:t>
            </a:r>
          </a:p>
          <a:p>
            <a:pPr marL="228600" indent="-228600">
              <a:buClr>
                <a:schemeClr val="accent1"/>
              </a:buClr>
              <a:buFont typeface="Verdana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Country coverage : 40 (Approx)</a:t>
            </a: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4757242" y="3478082"/>
            <a:ext cx="4008472" cy="3813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Key Activitie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65662" y="5510152"/>
            <a:ext cx="1864426" cy="368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err="1" smtClean="0">
              <a:solidFill>
                <a:schemeClr val="tx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1922" y="5739786"/>
            <a:ext cx="37238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Avg. Experience 3.5 yrs</a:t>
            </a:r>
          </a:p>
        </p:txBody>
      </p:sp>
    </p:spTree>
    <p:extLst>
      <p:ext uri="{BB962C8B-B14F-4D97-AF65-F5344CB8AC3E}">
        <p14:creationId xmlns="" xmlns:p14="http://schemas.microsoft.com/office/powerpoint/2010/main" val="492790710"/>
      </p:ext>
    </p:extLst>
  </p:cSld>
  <p:clrMapOvr>
    <a:masterClrMapping/>
  </p:clrMapOvr>
  <p:transition advTm="375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391954" y="6248400"/>
            <a:ext cx="24924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HAND OVER PROCESS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43400" y="15240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63246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  <a:ea typeface="+mj-ea"/>
                <a:cs typeface="+mj-cs"/>
              </a:rPr>
              <a:t>My Project Work Flow</a:t>
            </a:r>
            <a:endParaRPr kumimoji="0" lang="en-US" sz="2400" b="0" i="0" u="sng" strike="noStrike" kern="0" cap="none" spc="0" normalizeH="0" baseline="0" noProof="0" dirty="0">
              <a:ln>
                <a:noFill/>
              </a:ln>
              <a:solidFill>
                <a:srgbClr val="002868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1" grpId="0" animBg="1"/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959906" y="6330806"/>
            <a:ext cx="24924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HANDOVER PROCESS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43400" y="1524000"/>
            <a:ext cx="45720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63246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hlinkClick r:id="rId3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035143" y="1227036"/>
            <a:ext cx="7881257" cy="4716564"/>
          </a:xfrm>
          <a:prstGeom prst="rect">
            <a:avLst/>
          </a:prstGeom>
        </p:spPr>
      </p:pic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4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1 -0.01111 L -0.97257 -0.01042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002630" y="6248400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pic>
        <p:nvPicPr>
          <p:cNvPr id="43" name="Picture 42" descr="ball_3d_by__rgpj__blue_ball_3d__by_550ayasparassoneelf-d6jrx9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flipH="1">
            <a:off x="1066800" y="1494462"/>
            <a:ext cx="304800" cy="31282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19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605 -0.00046 C 0.12726 -0.02593 0.22848 -0.05116 0.33125 -0.04907 C 0.43403 -0.04699 0.5908 0.00185 0.64271 0.01204 " pathEditMode="relative" ptsTypes="aaA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08104" y="6330806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2954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304800" y="1676400"/>
            <a:ext cx="3505200" cy="3046988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SOURCE OF DATA:</a:t>
            </a:r>
          </a:p>
          <a:p>
            <a:endParaRPr lang="en-US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42C4F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CAL OFFICE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IDAS DATA</a:t>
            </a: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4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9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1" grpId="0" animBg="1"/>
      <p:bldP spid="23" grpId="0" animBg="1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08104" y="6330806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2954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304800" y="1676400"/>
            <a:ext cx="3505200" cy="3046988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/>
          <a:p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  <a:ea typeface="Verdana" pitchFamily="34" charset="0"/>
                <a:cs typeface="Verdana" pitchFamily="34" charset="0"/>
              </a:rPr>
              <a:t>INPUT TYPE:</a:t>
            </a:r>
          </a:p>
          <a:p>
            <a:endParaRPr lang="en-US" dirty="0" smtClean="0">
              <a:ln w="18415" cmpd="sng">
                <a:noFill/>
                <a:prstDash val="solid"/>
              </a:ln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CSV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XCEL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ATA VIEW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ln w="18415" cmpd="sng">
                  <a:noFill/>
                  <a:prstDash val="solid"/>
                </a:ln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CUBE</a:t>
            </a:r>
          </a:p>
          <a:p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US" sz="2400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2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652120" y="6330806"/>
            <a:ext cx="1593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65000"/>
                  </a:schemeClr>
                </a:solidFill>
                <a:latin typeface="Verdana" pitchFamily="34" charset="0"/>
              </a:rPr>
              <a:t>PRODUCTION</a:t>
            </a:r>
            <a:endParaRPr lang="en-US" sz="1600" dirty="0">
              <a:solidFill>
                <a:schemeClr val="bg1">
                  <a:lumMod val="65000"/>
                </a:schemeClr>
              </a:solidFill>
              <a:latin typeface="Verdana" pitchFamily="34" charset="0"/>
            </a:endParaRPr>
          </a:p>
        </p:txBody>
      </p:sp>
      <p:pic>
        <p:nvPicPr>
          <p:cNvPr id="26" name="Picture 25" descr="proces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81200" y="1461759"/>
            <a:ext cx="5340243" cy="410084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971800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HANDOVER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5513" y="312420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PRODUCTION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953000" y="4538990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QC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48000" y="4538990"/>
            <a:ext cx="1957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Verdana" pitchFamily="34" charset="0"/>
              </a:rPr>
              <a:t>DELIVERY</a:t>
            </a:r>
            <a:endParaRPr lang="en-US" sz="11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00" y="1828800"/>
            <a:ext cx="25875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JECT HANDOVER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2200" y="1871246"/>
            <a:ext cx="1755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PRODUCTION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324600" y="4038600"/>
            <a:ext cx="20569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QUALITY CHECK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2400" y="4004846"/>
            <a:ext cx="22605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42C4F4"/>
                </a:solidFill>
                <a:latin typeface="Verdana" pitchFamily="34" charset="0"/>
              </a:rPr>
              <a:t>CLIENT DELIVERY</a:t>
            </a:r>
            <a:endParaRPr lang="en-US" sz="1600" b="1" dirty="0">
              <a:solidFill>
                <a:srgbClr val="42C4F4"/>
              </a:solidFill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1371600"/>
            <a:ext cx="4343400" cy="419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3657600"/>
            <a:ext cx="8534400" cy="2057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304800" y="1962152"/>
            <a:ext cx="4038600" cy="2609856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/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nline Dashboard</a:t>
            </a:r>
            <a:endParaRPr lang="en-US" dirty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xcel </a:t>
            </a:r>
            <a:r>
              <a:rPr lang="en-US" dirty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shboard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Flat File</a:t>
            </a:r>
            <a:endParaRPr lang="en-US" dirty="0">
              <a:solidFill>
                <a:srgbClr val="00A5E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xcel Report</a:t>
            </a:r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5720" y="1962152"/>
            <a:ext cx="4038600" cy="260985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en-US" b="1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>
                <a:solidFill>
                  <a:srgbClr val="00A5EA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</a:p>
          <a:p>
            <a:endParaRPr lang="en-US" b="1" u="sng" dirty="0" smtClean="0">
              <a:ln w="18415" cmpd="sng">
                <a:noFill/>
                <a:prstDash val="solid"/>
              </a:ln>
              <a:solidFill>
                <a:srgbClr val="42C4F4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-71470" y="1752889"/>
            <a:ext cx="4341253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 smtClean="0">
                <a:ln w="18415" cmpd="sng">
                  <a:noFill/>
                  <a:prstDash val="solid"/>
                </a:ln>
                <a:latin typeface="Verdana" pitchFamily="34" charset="0"/>
              </a:rPr>
              <a:t>TYPE OF DELIVERABLES</a:t>
            </a:r>
            <a:endParaRPr lang="en-US" sz="2400" b="1" cap="none" spc="0" dirty="0">
              <a:ln w="18415" cmpd="sng">
                <a:noFill/>
                <a:prstDash val="solid"/>
              </a:ln>
              <a:latin typeface="Verdana" pitchFamily="34" charset="0"/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 bwMode="gray">
          <a:xfrm>
            <a:off x="485714" y="75203"/>
            <a:ext cx="8280000" cy="84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u="sng" kern="0" dirty="0" smtClean="0">
                <a:solidFill>
                  <a:srgbClr val="002868"/>
                </a:solidFill>
                <a:latin typeface="Calibri" pitchFamily="34" charset="0"/>
              </a:rPr>
              <a:t>My Project Work Flow</a:t>
            </a:r>
            <a:endParaRPr lang="en-US" sz="2400" u="sng" kern="0" dirty="0">
              <a:solidFill>
                <a:srgbClr val="002868"/>
              </a:solidFill>
              <a:latin typeface="Calibri" pitchFamily="34" charset="0"/>
            </a:endParaRPr>
          </a:p>
        </p:txBody>
      </p:sp>
      <p:sp>
        <p:nvSpPr>
          <p:cNvPr id="27" name="Footer Placeholder 3"/>
          <p:cNvSpPr txBox="1">
            <a:spLocks/>
          </p:cNvSpPr>
          <p:nvPr/>
        </p:nvSpPr>
        <p:spPr>
          <a:xfrm>
            <a:off x="481359" y="6356351"/>
            <a:ext cx="6858000" cy="1371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S Health Confidentia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500"/>
                            </p:stCondLst>
                            <p:childTnLst>
                              <p:par>
                                <p:cTn id="10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4500"/>
                            </p:stCondLst>
                            <p:childTnLst>
                              <p:par>
                                <p:cTn id="126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3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3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6500"/>
                            </p:stCondLst>
                            <p:childTnLst>
                              <p:par>
                                <p:cTn id="143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8500"/>
                            </p:stCondLst>
                            <p:childTnLst>
                              <p:par>
                                <p:cTn id="160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6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0" grpId="0" build="allAtOnce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_hQvQ2L0KbMoS_KcI7DQ"/>
</p:tagLst>
</file>

<file path=ppt/theme/theme1.xml><?xml version="1.0" encoding="utf-8"?>
<a:theme xmlns:a="http://schemas.openxmlformats.org/drawingml/2006/main" name="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0.xml><?xml version="1.0" encoding="utf-8"?>
<a:theme xmlns:a="http://schemas.openxmlformats.org/drawingml/2006/main" name="6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1.xml><?xml version="1.0" encoding="utf-8"?>
<a:theme xmlns:a="http://schemas.openxmlformats.org/drawingml/2006/main" name="7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2.xml><?xml version="1.0" encoding="utf-8"?>
<a:theme xmlns:a="http://schemas.openxmlformats.org/drawingml/2006/main" name="8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3.xml><?xml version="1.0" encoding="utf-8"?>
<a:theme xmlns:a="http://schemas.openxmlformats.org/drawingml/2006/main" name="9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4.xml><?xml version="1.0" encoding="utf-8"?>
<a:theme xmlns:a="http://schemas.openxmlformats.org/drawingml/2006/main" name="10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5.xml><?xml version="1.0" encoding="utf-8"?>
<a:theme xmlns:a="http://schemas.openxmlformats.org/drawingml/2006/main" name="11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6.xml><?xml version="1.0" encoding="utf-8"?>
<a:theme xmlns:a="http://schemas.openxmlformats.org/drawingml/2006/main" name="12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7.xml><?xml version="1.0" encoding="utf-8"?>
<a:theme xmlns:a="http://schemas.openxmlformats.org/drawingml/2006/main" name="13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8.xml><?xml version="1.0" encoding="utf-8"?>
<a:theme xmlns:a="http://schemas.openxmlformats.org/drawingml/2006/main" name="Theme1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19.xml><?xml version="1.0" encoding="utf-8"?>
<a:theme xmlns:a="http://schemas.openxmlformats.org/drawingml/2006/main" name="14_blank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.xml><?xml version="1.0" encoding="utf-8"?>
<a:theme xmlns:a="http://schemas.openxmlformats.org/drawingml/2006/main" name="2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0.xml><?xml version="1.0" encoding="utf-8"?>
<a:theme xmlns:a="http://schemas.openxmlformats.org/drawingml/2006/main" name="15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1.xml><?xml version="1.0" encoding="utf-8"?>
<a:theme xmlns:a="http://schemas.openxmlformats.org/drawingml/2006/main" name="16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2.xml><?xml version="1.0" encoding="utf-8"?>
<a:theme xmlns:a="http://schemas.openxmlformats.org/drawingml/2006/main" name="2_IMS Template 2013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3.xml><?xml version="1.0" encoding="utf-8"?>
<a:theme xmlns:a="http://schemas.openxmlformats.org/drawingml/2006/main" name="17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4.xml><?xml version="1.0" encoding="utf-8"?>
<a:theme xmlns:a="http://schemas.openxmlformats.org/drawingml/2006/main" name="4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5.xml><?xml version="1.0" encoding="utf-8"?>
<a:theme xmlns:a="http://schemas.openxmlformats.org/drawingml/2006/main" name="5_Theme1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6.xml><?xml version="1.0" encoding="utf-8"?>
<a:theme xmlns:a="http://schemas.openxmlformats.org/drawingml/2006/main" name="IMS Template 2013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7.xml><?xml version="1.0" encoding="utf-8"?>
<a:theme xmlns:a="http://schemas.openxmlformats.org/drawingml/2006/main" name="1_IMS Template 2013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8.xml><?xml version="1.0" encoding="utf-8"?>
<a:theme xmlns:a="http://schemas.openxmlformats.org/drawingml/2006/main" name="1_blank">
  <a:themeElements>
    <a:clrScheme name="ims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48484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9.xml><?xml version="1.0" encoding="utf-8"?>
<a:theme xmlns:a="http://schemas.openxmlformats.org/drawingml/2006/main" name="5_blank">
  <a:themeElements>
    <a:clrScheme name="Custom 6">
      <a:dk1>
        <a:srgbClr val="002868"/>
      </a:dk1>
      <a:lt1>
        <a:sysClr val="window" lastClr="FFFFFF"/>
      </a:lt1>
      <a:dk2>
        <a:srgbClr val="002868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1B8F9E"/>
      </a:accent6>
      <a:hlink>
        <a:srgbClr val="002868"/>
      </a:hlink>
      <a:folHlink>
        <a:srgbClr val="C5C19D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55</TotalTime>
  <Words>775</Words>
  <Application>Microsoft Office PowerPoint</Application>
  <PresentationFormat>On-screen Show (4:3)</PresentationFormat>
  <Paragraphs>390</Paragraphs>
  <Slides>26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50" baseType="lpstr">
      <vt:lpstr>blank</vt:lpstr>
      <vt:lpstr>2_blank</vt:lpstr>
      <vt:lpstr>3_blank</vt:lpstr>
      <vt:lpstr>4_blank</vt:lpstr>
      <vt:lpstr>5_Theme1</vt:lpstr>
      <vt:lpstr>IMS Template 2013</vt:lpstr>
      <vt:lpstr>1_IMS Template 2013</vt:lpstr>
      <vt:lpstr>1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Theme1</vt:lpstr>
      <vt:lpstr>14_blank</vt:lpstr>
      <vt:lpstr>15_blank</vt:lpstr>
      <vt:lpstr>16_blank</vt:lpstr>
      <vt:lpstr>2_IMS Template 2013</vt:lpstr>
      <vt:lpstr>17_blank</vt:lpstr>
      <vt:lpstr>think-cell Slide</vt:lpstr>
      <vt:lpstr>    Services Data Provisioning    </vt:lpstr>
      <vt:lpstr>Topics for Discussion</vt:lpstr>
      <vt:lpstr>SDP Team Profile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Project Involvement </vt:lpstr>
      <vt:lpstr>Project Involvement </vt:lpstr>
      <vt:lpstr>Achievement In Project </vt:lpstr>
      <vt:lpstr>Achievement In Team </vt:lpstr>
      <vt:lpstr>Utilization</vt:lpstr>
      <vt:lpstr>Contribution &amp; Suggestion In Team</vt:lpstr>
      <vt:lpstr>Thank you</vt:lpstr>
    </vt:vector>
  </TitlesOfParts>
  <Company>IMS HEALTH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 Reporting COE</dc:title>
  <dc:creator>Saravan Kandasamy</dc:creator>
  <cp:keywords>PowerPoint Template, POTX</cp:keywords>
  <dc:description>Prepared July 31 2013. Covers IMS Health, IMS Consulting Group &amp; IMS Institute use. Further guidance at http://imsnow/brand.</dc:description>
  <cp:lastModifiedBy>ANower</cp:lastModifiedBy>
  <cp:revision>299</cp:revision>
  <dcterms:created xsi:type="dcterms:W3CDTF">2014-06-27T04:09:56Z</dcterms:created>
  <dcterms:modified xsi:type="dcterms:W3CDTF">2016-05-12T06:25:34Z</dcterms:modified>
</cp:coreProperties>
</file>